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48" r:id="rId2"/>
    <p:sldMasterId id="2147483707" r:id="rId3"/>
  </p:sldMasterIdLst>
  <p:notesMasterIdLst>
    <p:notesMasterId r:id="rId13"/>
  </p:notesMasterIdLst>
  <p:sldIdLst>
    <p:sldId id="288" r:id="rId4"/>
    <p:sldId id="289" r:id="rId5"/>
    <p:sldId id="290" r:id="rId6"/>
    <p:sldId id="291" r:id="rId7"/>
    <p:sldId id="335" r:id="rId8"/>
    <p:sldId id="332" r:id="rId9"/>
    <p:sldId id="333" r:id="rId10"/>
    <p:sldId id="334" r:id="rId11"/>
    <p:sldId id="329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1000"/>
      </a:spcBef>
      <a:buFont typeface="Arial" panose="020B0604020202020204" pitchFamily="34" charset="0"/>
      <a:buNone/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2304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4608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6912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921600" indent="-228600" algn="l" defTabSz="914400" rtl="0" eaLnBrk="1" latinLnBrk="0" hangingPunct="1">
      <a:lnSpc>
        <a:spcPct val="100000"/>
      </a:lnSpc>
      <a:spcBef>
        <a:spcPts val="500"/>
      </a:spcBef>
      <a:buFont typeface="Arial" panose="020B0604020202020204" pitchFamily="34" charset="0"/>
      <a:buChar char="•"/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B6CA"/>
    <a:srgbClr val="0066FF"/>
    <a:srgbClr val="CCE0FF"/>
    <a:srgbClr val="99C2FF"/>
    <a:srgbClr val="66A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7EDB7D-9C40-4041-8A46-99F5121B947F}">
  <a:tblStyle styleId="{097EDB7D-9C40-4041-8A46-99F5121B947F}" styleName="TEF-O2 Table Style">
    <a:tblBg/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ap="flat" cmpd="sng" algn="ctr">
              <a:solidFill>
                <a:schemeClr val="dk2"/>
              </a:solidFill>
              <a:prstDash val="solid"/>
            </a:ln>
          </a:insideH>
          <a:insideV>
            <a:ln w="9525" cap="flat" cmpd="sng" algn="ctr">
              <a:solidFill>
                <a:schemeClr val="dk2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</a:tcStyle>
    </a:band1H>
    <a:band2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lt2"/>
          </a:solidFill>
        </a:fill>
      </a:tcStyle>
    </a:band2H>
    <a:band1V>
      <a:tcStyle>
        <a:tcBdr>
          <a:left>
            <a:ln>
              <a:noFill/>
            </a:ln>
          </a:left>
          <a:right>
            <a:ln>
              <a:noFill/>
            </a:ln>
          </a:right>
          <a:insideV>
            <a:ln>
              <a:noFill/>
            </a:ln>
          </a:insideV>
        </a:tcBdr>
        <a:fill>
          <a:solidFill>
            <a:schemeClr val="lt2"/>
          </a:solidFill>
        </a:fill>
      </a:tcStyle>
    </a:band1V>
    <a:band2V>
      <a:tcStyle>
        <a:tcBdr>
          <a:left>
            <a:ln>
              <a:noFill/>
            </a:ln>
          </a:left>
          <a:right>
            <a:ln>
              <a:noFill/>
            </a:ln>
          </a:right>
          <a:insideV>
            <a:ln>
              <a:noFill/>
            </a:ln>
          </a:insideV>
        </a:tcBdr>
      </a:tcStyle>
    </a:band2V>
    <a:lastCol>
      <a:tcTxStyle b="on" i="off">
        <a:fontRef idx="major"/>
        <a:schemeClr val="tx1"/>
      </a:tcTxStyle>
      <a:tcStyle>
        <a:tcBdr/>
      </a:tcStyle>
    </a:lastCol>
    <a:firstCol>
      <a:tcTxStyle b="on" i="off">
        <a:fontRef idx="major"/>
        <a:schemeClr val="tx1"/>
      </a:tcTxStyle>
      <a:tcStyle>
        <a:tcBdr/>
      </a:tcStyle>
    </a:firstCol>
    <a:lastRow>
      <a:tcTxStyle b="on" i="off">
        <a:fontRef idx="major"/>
        <a:schemeClr val="tx1"/>
      </a:tcTxStyle>
      <a:tcStyle>
        <a:tcBdr>
          <a:top>
            <a:ln w="19050" cap="flat" cmpd="sng" algn="ctr">
              <a:solidFill>
                <a:schemeClr val="dk2"/>
              </a:solidFill>
              <a:prstDash val="solid"/>
            </a:ln>
          </a:top>
        </a:tcBdr>
      </a:tcStyle>
    </a:lastRow>
    <a:seCell>
      <a:tcStyle>
        <a:tcBdr/>
      </a:tcStyle>
    </a:seCell>
    <a:swCell>
      <a:tcStyle>
        <a:tcBdr/>
      </a:tcStyle>
    </a:swCell>
    <a:firstRow>
      <a:tcTxStyle b="on" i="off">
        <a:fontRef idx="major"/>
        <a:schemeClr val="lt1"/>
      </a:tcTxStyle>
      <a:tcStyle>
        <a:tcBdr>
          <a:insideH>
            <a:ln w="9525" cap="flat" cmpd="sng" algn="ctr">
              <a:solidFill>
                <a:schemeClr val="lt1"/>
              </a:solidFill>
              <a:prstDash val="solid"/>
            </a:ln>
          </a:insideH>
        </a:tcBdr>
        <a:fill>
          <a:solidFill>
            <a:schemeClr val="dk2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3" autoAdjust="0"/>
    <p:restoredTop sz="94660"/>
  </p:normalViewPr>
  <p:slideViewPr>
    <p:cSldViewPr snapToGrid="0" showGuides="1">
      <p:cViewPr varScale="1">
        <p:scale>
          <a:sx n="46" d="100"/>
          <a:sy n="46" d="100"/>
        </p:scale>
        <p:origin x="696" y="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C0D1FB-CCBC-486A-AD96-C1672E64080C}" type="datetimeFigureOut">
              <a:rPr lang="de-DE" smtClean="0"/>
              <a:t>07.09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0AF817-5EB7-411B-8AE7-9F34543C6A4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341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357563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13327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90C6456-6899-D4E6-0612-14DCB3B792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90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067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3">
    <p:bg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49"/>
            <a:ext cx="5400674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D4D94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831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4">
    <p:bg>
      <p:bgPr>
        <a:solidFill>
          <a:srgbClr val="0090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EB1DE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3723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FAC43-231E-4831-9B50-FAC464F32B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AFCFD-7280-4EB9-A954-62EB11E481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1899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4118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47DE-CE31-4FCD-84DE-AA19E8D8D8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9535F1-98B6-44BA-8CB7-0EB471C816B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6" y="2505074"/>
            <a:ext cx="5400674" cy="35877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32C83F-C7C2-4A49-BCB9-66496AD21CC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11900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41120-5A71-4D97-B4AC-E89EE27998A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11900" y="2505075"/>
            <a:ext cx="5400674" cy="3587750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B127E16-5757-484F-829C-BDCE1FA9B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8566F2-9AE9-4E80-A0D3-6DAB7BEE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AA9D59C-5DC6-4592-B036-39C4E05EF1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FB3E8-F79A-4E8A-BEFD-161CC9A40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704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6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0E38B5F-7988-4212-A3BB-2FE1BB42608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1902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5509421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00600" y="1633225"/>
            <a:ext cx="7391400" cy="4459600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3887787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49275"/>
            <a:ext cx="3887788" cy="792163"/>
          </a:xfrm>
        </p:spPr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209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 userDrawn="1">
          <p15:clr>
            <a:srgbClr val="FBAE40"/>
          </p15:clr>
        </p15:guide>
        <p15:guide id="2" pos="275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448586" y="1628775"/>
            <a:ext cx="6743413" cy="4464049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4321174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549275"/>
            <a:ext cx="4321175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162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A4AFDA4-5B0B-4169-A791-1F4B6C1296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BD779E-A6AC-47DF-BB25-444EBD41BA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991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3432" userDrawn="1">
          <p15:clr>
            <a:srgbClr val="FBAE40"/>
          </p15:clr>
        </p15:guide>
        <p15:guide id="3" pos="697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231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20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with Captions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B0DD16-28A0-49C8-BDD2-1B4972F7B1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8379DB6-9730-4217-A571-F358BC6AE8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5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701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5541" userDrawn="1">
          <p15:clr>
            <a:srgbClr val="FBAE40"/>
          </p15:clr>
        </p15:guide>
        <p15:guide id="4" pos="5813" userDrawn="1">
          <p15:clr>
            <a:srgbClr val="FBAE40"/>
          </p15:clr>
        </p15:guide>
        <p15:guide id="5" pos="3704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357563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6" y="5013327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024AE7-66E9-785A-0E0A-D1D4DD07E5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22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158" userDrawn="1">
          <p15:clr>
            <a:srgbClr val="FBAE40"/>
          </p15:clr>
        </p15:guide>
        <p15:guide id="3" orient="horz" pos="3067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 with Captions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141E02D-4B91-4C27-94A5-83CD7EE0BC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0A03EE9-CD1A-43DC-933B-975A009067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27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497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 userDrawn="1">
          <p15:clr>
            <a:srgbClr val="FBAE40"/>
          </p15:clr>
        </p15:guide>
        <p15:guide id="2" pos="3024" userDrawn="1">
          <p15:clr>
            <a:srgbClr val="FBAE40"/>
          </p15:clr>
        </p15:guide>
        <p15:guide id="3" pos="4656" userDrawn="1">
          <p15:clr>
            <a:srgbClr val="FBAE40"/>
          </p15:clr>
        </p15:guide>
        <p15:guide id="4" pos="5927" userDrawn="1">
          <p15:clr>
            <a:srgbClr val="FBAE40"/>
          </p15:clr>
        </p15:guide>
        <p15:guide id="5" pos="3205" userDrawn="1">
          <p15:clr>
            <a:srgbClr val="FBAE40"/>
          </p15:clr>
        </p15:guide>
        <p15:guide id="6" pos="4475" userDrawn="1">
          <p15:clr>
            <a:srgbClr val="FBAE40"/>
          </p15:clr>
        </p15:guide>
        <p15:guide id="7" pos="6108" userDrawn="1">
          <p15:clr>
            <a:srgbClr val="FBAE40"/>
          </p15:clr>
        </p15:guide>
        <p15:guide id="8" pos="157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 with Captions-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rect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36A5949-CD45-4BDC-86AF-CDB73787BD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60304" y="0"/>
            <a:ext cx="816853" cy="792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7E8A8C9-37A8-4E7D-9AE2-3944528A25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628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69A77-EFCB-4621-8D64-A8241AED05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7490C-ACB0-4090-B843-645F41773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8D81A-B3EA-4B95-AD23-E3B5AF160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811DE-5760-4395-AC7C-4C66FF5AF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067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2FC71B-FB79-40DB-A8C3-A85F89F4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4" name="Grafik 7">
            <a:extLst>
              <a:ext uri="{FF2B5EF4-FFF2-40B4-BE49-F238E27FC236}">
                <a16:creationId xmlns:a16="http://schemas.microsoft.com/office/drawing/2014/main" id="{FCAF4FA8-CE24-45E9-A46C-AF44C529DF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054" y="6456131"/>
            <a:ext cx="1438902" cy="20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454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BF10EC6-4BF7-4972-A495-3C8708687D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7737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F86B0B1-1C8B-DE6E-1111-266BF0AC3A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663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6D1C133-C770-FD6B-44EF-BCEB216880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3018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288D105-5AA3-CE88-60EA-28AE5CEE0A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698" y="2590429"/>
            <a:ext cx="5004000" cy="205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235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50105"/>
            <a:ext cx="2530802" cy="7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60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  <p15:guide id="2" orient="horz" pos="2568" userDrawn="1">
          <p15:clr>
            <a:srgbClr val="FBAE40"/>
          </p15:clr>
        </p15:guide>
        <p15:guide id="3" orient="horz" pos="2659" userDrawn="1">
          <p15:clr>
            <a:srgbClr val="FBAE40"/>
          </p15:clr>
        </p15:guide>
        <p15:guide id="4" orient="horz" pos="3339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356494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12258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2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C8A1569-7C7C-9E92-6CC9-DE1930AFB2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96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067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50105"/>
            <a:ext cx="2530802" cy="7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5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2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49383"/>
            <a:ext cx="2530801" cy="72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9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2265D5F5-3FEE-43AC-B8A6-88EC4F29A3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08" y="549383"/>
            <a:ext cx="2530801" cy="72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167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05989B37-A21F-40ED-8EF4-0C4294010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24488CB0-CBF1-42E8-9B95-B396F89242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62239" y="1631518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28" name="Marcador de texto 83">
            <a:extLst>
              <a:ext uri="{FF2B5EF4-FFF2-40B4-BE49-F238E27FC236}">
                <a16:creationId xmlns:a16="http://schemas.microsoft.com/office/drawing/2014/main" id="{342A556E-B9D5-4597-B9B1-89DEEE0B1A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9425" y="1631518"/>
            <a:ext cx="1779033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7AAD0CF9-F654-4D4B-BCBD-5328D3A42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9426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0" name="Marcador de texto 15">
            <a:extLst>
              <a:ext uri="{FF2B5EF4-FFF2-40B4-BE49-F238E27FC236}">
                <a16:creationId xmlns:a16="http://schemas.microsoft.com/office/drawing/2014/main" id="{24BA68AB-8A58-44B9-B410-DE4942E154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062239" y="241393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51" name="Marcador de texto 83">
            <a:extLst>
              <a:ext uri="{FF2B5EF4-FFF2-40B4-BE49-F238E27FC236}">
                <a16:creationId xmlns:a16="http://schemas.microsoft.com/office/drawing/2014/main" id="{8B4B4487-8570-422D-8F47-16D92B3277D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9425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55968FD4-E0BD-4C5E-968D-72DDDE20EB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79426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3" name="Marcador de texto 15">
            <a:extLst>
              <a:ext uri="{FF2B5EF4-FFF2-40B4-BE49-F238E27FC236}">
                <a16:creationId xmlns:a16="http://schemas.microsoft.com/office/drawing/2014/main" id="{4A58620D-0B6F-45CE-BFA8-5D86DAA54F4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062239" y="321222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54" name="Marcador de texto 83">
            <a:extLst>
              <a:ext uri="{FF2B5EF4-FFF2-40B4-BE49-F238E27FC236}">
                <a16:creationId xmlns:a16="http://schemas.microsoft.com/office/drawing/2014/main" id="{1D4899CC-AD62-4579-9187-3E94ACAB02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9425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518C9491-059C-45F9-85BD-D3725AFCBE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9426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6" name="Marcador de texto 15">
            <a:extLst>
              <a:ext uri="{FF2B5EF4-FFF2-40B4-BE49-F238E27FC236}">
                <a16:creationId xmlns:a16="http://schemas.microsoft.com/office/drawing/2014/main" id="{049D348D-C7B8-42FD-896C-1E65D16DE95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062239" y="4021499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57" name="Marcador de texto 83">
            <a:extLst>
              <a:ext uri="{FF2B5EF4-FFF2-40B4-BE49-F238E27FC236}">
                <a16:creationId xmlns:a16="http://schemas.microsoft.com/office/drawing/2014/main" id="{C4070071-DF6C-4C5A-A985-ED177107EB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9425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2FE5E765-77AE-41B4-9713-CB3AE5C3BAE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9426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9" name="Marcador de texto 15">
            <a:extLst>
              <a:ext uri="{FF2B5EF4-FFF2-40B4-BE49-F238E27FC236}">
                <a16:creationId xmlns:a16="http://schemas.microsoft.com/office/drawing/2014/main" id="{56507D22-190D-49A2-9BBD-23D65149AB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062239" y="4800106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0" name="Marcador de texto 83">
            <a:extLst>
              <a:ext uri="{FF2B5EF4-FFF2-40B4-BE49-F238E27FC236}">
                <a16:creationId xmlns:a16="http://schemas.microsoft.com/office/drawing/2014/main" id="{8AE69186-8691-4AC8-8EE3-71F86573F7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9425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1" name="Marcador de texto 3">
            <a:extLst>
              <a:ext uri="{FF2B5EF4-FFF2-40B4-BE49-F238E27FC236}">
                <a16:creationId xmlns:a16="http://schemas.microsoft.com/office/drawing/2014/main" id="{4F8684C1-B8BA-4362-A17A-D03135DCEB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1901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2" name="Marcador de texto 15">
            <a:extLst>
              <a:ext uri="{FF2B5EF4-FFF2-40B4-BE49-F238E27FC236}">
                <a16:creationId xmlns:a16="http://schemas.microsoft.com/office/drawing/2014/main" id="{CC3710CD-AA77-4C9A-AFED-283AC51BDC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894714" y="1631518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3" name="Marcador de texto 83">
            <a:extLst>
              <a:ext uri="{FF2B5EF4-FFF2-40B4-BE49-F238E27FC236}">
                <a16:creationId xmlns:a16="http://schemas.microsoft.com/office/drawing/2014/main" id="{9F8A30FF-E62A-4B71-8F82-60E0C9076A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311900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97AC58F3-433F-4F54-8FC0-925AB56AFA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311901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5" name="Marcador de texto 15">
            <a:extLst>
              <a:ext uri="{FF2B5EF4-FFF2-40B4-BE49-F238E27FC236}">
                <a16:creationId xmlns:a16="http://schemas.microsoft.com/office/drawing/2014/main" id="{904B2323-972E-42B3-94A3-9D61A80C06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894714" y="241393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6" name="Marcador de texto 83">
            <a:extLst>
              <a:ext uri="{FF2B5EF4-FFF2-40B4-BE49-F238E27FC236}">
                <a16:creationId xmlns:a16="http://schemas.microsoft.com/office/drawing/2014/main" id="{B9909A68-A98B-481F-8E77-AF427B4BD4A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1900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7" name="Marcador de texto 3">
            <a:extLst>
              <a:ext uri="{FF2B5EF4-FFF2-40B4-BE49-F238E27FC236}">
                <a16:creationId xmlns:a16="http://schemas.microsoft.com/office/drawing/2014/main" id="{0C742AA1-84D8-46A7-AE04-B719E748494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311901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8" name="Marcador de texto 15">
            <a:extLst>
              <a:ext uri="{FF2B5EF4-FFF2-40B4-BE49-F238E27FC236}">
                <a16:creationId xmlns:a16="http://schemas.microsoft.com/office/drawing/2014/main" id="{A144223D-2F51-4ACB-A5E8-050431D95F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894714" y="3212220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69" name="Marcador de texto 83">
            <a:extLst>
              <a:ext uri="{FF2B5EF4-FFF2-40B4-BE49-F238E27FC236}">
                <a16:creationId xmlns:a16="http://schemas.microsoft.com/office/drawing/2014/main" id="{765D109B-A1A6-4408-96E6-2DE8F8F2AA5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11900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0" name="Marcador de texto 3">
            <a:extLst>
              <a:ext uri="{FF2B5EF4-FFF2-40B4-BE49-F238E27FC236}">
                <a16:creationId xmlns:a16="http://schemas.microsoft.com/office/drawing/2014/main" id="{F6AF40EA-3698-4F39-B0A7-D7BF1B6B09A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1901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1" name="Marcador de texto 15">
            <a:extLst>
              <a:ext uri="{FF2B5EF4-FFF2-40B4-BE49-F238E27FC236}">
                <a16:creationId xmlns:a16="http://schemas.microsoft.com/office/drawing/2014/main" id="{8161FD42-E3B9-4000-A2C6-93A4433D48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94714" y="4021499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72" name="Marcador de texto 83">
            <a:extLst>
              <a:ext uri="{FF2B5EF4-FFF2-40B4-BE49-F238E27FC236}">
                <a16:creationId xmlns:a16="http://schemas.microsoft.com/office/drawing/2014/main" id="{1606C338-651A-4633-9150-E37DB8E58E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1900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3" name="Marcador de texto 3">
            <a:extLst>
              <a:ext uri="{FF2B5EF4-FFF2-40B4-BE49-F238E27FC236}">
                <a16:creationId xmlns:a16="http://schemas.microsoft.com/office/drawing/2014/main" id="{152F98D6-E32D-4CD3-99C9-AE816590187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1901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4" name="Marcador de texto 15">
            <a:extLst>
              <a:ext uri="{FF2B5EF4-FFF2-40B4-BE49-F238E27FC236}">
                <a16:creationId xmlns:a16="http://schemas.microsoft.com/office/drawing/2014/main" id="{2E354619-E7E5-48FC-A49F-33A01DF634F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894714" y="4800106"/>
            <a:ext cx="3817861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… 00</a:t>
            </a:r>
          </a:p>
        </p:txBody>
      </p:sp>
      <p:sp>
        <p:nvSpPr>
          <p:cNvPr id="75" name="Marcador de texto 83">
            <a:extLst>
              <a:ext uri="{FF2B5EF4-FFF2-40B4-BE49-F238E27FC236}">
                <a16:creationId xmlns:a16="http://schemas.microsoft.com/office/drawing/2014/main" id="{E489B60D-94FA-4FA0-BCF4-EF92F316394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1900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</p:spTree>
    <p:extLst>
      <p:ext uri="{BB962C8B-B14F-4D97-AF65-F5344CB8AC3E}">
        <p14:creationId xmlns:p14="http://schemas.microsoft.com/office/powerpoint/2010/main" val="3733710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83">
            <a:extLst>
              <a:ext uri="{FF2B5EF4-FFF2-40B4-BE49-F238E27FC236}">
                <a16:creationId xmlns:a16="http://schemas.microsoft.com/office/drawing/2014/main" id="{5A28B3E8-E64D-45D8-B93C-1900DC633C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428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D547610-4888-4392-9B06-BD836DDFB363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89429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E1B36CE8-5A5C-462D-9DDA-A69B2D9A16B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89428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4" name="Marcador de texto 83">
            <a:extLst>
              <a:ext uri="{FF2B5EF4-FFF2-40B4-BE49-F238E27FC236}">
                <a16:creationId xmlns:a16="http://schemas.microsoft.com/office/drawing/2014/main" id="{BC9EB4C3-4E10-4D64-A48F-61F8177A133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405665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5029655A-8503-4E69-96DF-5FAEAF02F35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405666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1F086304-78E4-45A1-973F-A48BD2BFADE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405665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7" name="Marcador de texto 83">
            <a:extLst>
              <a:ext uri="{FF2B5EF4-FFF2-40B4-BE49-F238E27FC236}">
                <a16:creationId xmlns:a16="http://schemas.microsoft.com/office/drawing/2014/main" id="{1842456A-E355-4BF1-BD76-22A9F2B7390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321903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88A1204-4BE5-4CC7-9698-36B9DDB65EE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321904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292A0DF8-16D8-476A-A11F-113867B0FF2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21903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0" name="Marcador de texto 83">
            <a:extLst>
              <a:ext uri="{FF2B5EF4-FFF2-40B4-BE49-F238E27FC236}">
                <a16:creationId xmlns:a16="http://schemas.microsoft.com/office/drawing/2014/main" id="{71F3D73C-5B65-43C1-B3F2-B123D594EC0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238141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A812586-23A5-41F9-B670-DA16BEA6C3C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8142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3EEE5695-95AE-43FC-B0D0-E668F123249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238141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3" name="Marcador de texto 83">
            <a:extLst>
              <a:ext uri="{FF2B5EF4-FFF2-40B4-BE49-F238E27FC236}">
                <a16:creationId xmlns:a16="http://schemas.microsoft.com/office/drawing/2014/main" id="{72C17871-59E7-4B80-AD60-EAD3E13A3E7C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89428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039102C3-6724-4A20-8FB2-39DB43CDBFE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9429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E67CFF4A-B5AB-486B-8348-2B5E65DA91A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89428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6" name="Marcador de texto 83">
            <a:extLst>
              <a:ext uri="{FF2B5EF4-FFF2-40B4-BE49-F238E27FC236}">
                <a16:creationId xmlns:a16="http://schemas.microsoft.com/office/drawing/2014/main" id="{A50D3A72-DCA3-4900-A841-0DF5492757F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405665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1BDA7AE3-2946-48B1-BB5D-2E65D4DE855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05666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F8E8C15F-3CB3-43E6-95CD-E2B1F2DEA3F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405665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9" name="Marcador de texto 83">
            <a:extLst>
              <a:ext uri="{FF2B5EF4-FFF2-40B4-BE49-F238E27FC236}">
                <a16:creationId xmlns:a16="http://schemas.microsoft.com/office/drawing/2014/main" id="{70CBA818-D34F-4E24-BDB5-7B1D41AB4F22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321903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9F5AAB38-0339-4BBC-ADE8-28FCC86D7EF3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6321904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1" name="Textplatzhalter 8">
            <a:extLst>
              <a:ext uri="{FF2B5EF4-FFF2-40B4-BE49-F238E27FC236}">
                <a16:creationId xmlns:a16="http://schemas.microsoft.com/office/drawing/2014/main" id="{02860E13-705B-4650-B3D1-A8D527073366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321903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2" name="Marcador de texto 83">
            <a:extLst>
              <a:ext uri="{FF2B5EF4-FFF2-40B4-BE49-F238E27FC236}">
                <a16:creationId xmlns:a16="http://schemas.microsoft.com/office/drawing/2014/main" id="{CE495606-696D-4954-8229-A895B3C7E4E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9238141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53C69FDD-7612-4C32-ADB7-970B1419297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9238142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9ABD9B02-63FF-403E-984C-A4913D9EFB10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9238141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032959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 userDrawn="1">
          <p15:clr>
            <a:srgbClr val="FBAE40"/>
          </p15:clr>
        </p15:guide>
        <p15:guide id="2" orient="horz" pos="2568" userDrawn="1">
          <p15:clr>
            <a:srgbClr val="FBAE40"/>
          </p15:clr>
        </p15:guide>
        <p15:guide id="3" pos="1867" userDrawn="1">
          <p15:clr>
            <a:srgbClr val="FBAE40"/>
          </p15:clr>
        </p15:guide>
        <p15:guide id="4" pos="2139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813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BE9116-9D33-4565-893E-AD8DFB4AD1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94345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51"/>
            <a:ext cx="5400674" cy="3203574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D1D5E4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4744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 userDrawn="1">
          <p15:clr>
            <a:srgbClr val="FBAE40"/>
          </p15:clr>
        </p15:guide>
        <p15:guide id="2" orient="horz" pos="1979" userDrawn="1">
          <p15:clr>
            <a:srgbClr val="FBAE40"/>
          </p15:clr>
        </p15:guide>
        <p15:guide id="3" orient="horz" pos="2659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2">
    <p:bg>
      <p:bgPr>
        <a:solidFill>
          <a:srgbClr val="E3E5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B0B6CA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498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3">
    <p:bg>
      <p:bgPr>
        <a:solidFill>
          <a:srgbClr val="EC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49"/>
            <a:ext cx="5400674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918407-C05B-3E49-D08A-DA46BF61A8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7872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4">
    <p:bg>
      <p:bgPr>
        <a:solidFill>
          <a:srgbClr val="586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14B6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00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4">
    <p:bg>
      <p:bgPr>
        <a:solidFill>
          <a:srgbClr val="0019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364178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19942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430D127-8574-C04F-4EAC-1BED97944D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176695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548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 userDrawn="1">
          <p15:clr>
            <a:srgbClr val="FBAE40"/>
          </p15:clr>
        </p15:guide>
        <p15:guide id="2" orient="horz" pos="3067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5" pos="615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FAC43-231E-4831-9B50-FAC464F32B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AFCFD-7280-4EB9-A954-62EB11E481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1899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1077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47DE-CE31-4FCD-84DE-AA19E8D8D8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9535F1-98B6-44BA-8CB7-0EB471C816B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6" y="2505074"/>
            <a:ext cx="5400674" cy="35877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32C83F-C7C2-4A49-BCB9-66496AD21CC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11900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41120-5A71-4D97-B4AC-E89EE27998A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11900" y="2505075"/>
            <a:ext cx="5400674" cy="3587750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B127E16-5757-484F-829C-BDCE1FA9B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8566F2-9AE9-4E80-A0D3-6DAB7BEE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AA9D59C-5DC6-4592-B036-39C4E05EF1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FB3E8-F79A-4E8A-BEFD-161CC9A40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43643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6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0E38B5F-7988-4212-A3BB-2FE1BB42608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1902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6286453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00600" y="549275"/>
            <a:ext cx="6911974" cy="5543550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3887787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49275"/>
            <a:ext cx="3887788" cy="792163"/>
          </a:xfrm>
        </p:spPr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213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 userDrawn="1">
          <p15:clr>
            <a:srgbClr val="FBAE40"/>
          </p15:clr>
        </p15:guide>
        <p15:guide id="2" pos="2751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448587" y="522871"/>
            <a:ext cx="5616000" cy="5616000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4321174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549275"/>
            <a:ext cx="4321175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pic>
        <p:nvPicPr>
          <p:cNvPr id="11" name="Grafik 7">
            <a:extLst>
              <a:ext uri="{FF2B5EF4-FFF2-40B4-BE49-F238E27FC236}">
                <a16:creationId xmlns:a16="http://schemas.microsoft.com/office/drawing/2014/main" id="{AE2493D1-B27B-4164-B0DB-194C2E76F2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87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3432" userDrawn="1">
          <p15:clr>
            <a:srgbClr val="FBAE40"/>
          </p15:clr>
        </p15:guide>
        <p15:guide id="3" pos="697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8713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2" pos="2751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201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B0B6CA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15" name="Grafik 7">
            <a:extLst>
              <a:ext uri="{FF2B5EF4-FFF2-40B4-BE49-F238E27FC236}">
                <a16:creationId xmlns:a16="http://schemas.microsoft.com/office/drawing/2014/main" id="{DDC26ECB-4863-4934-922C-DF78B4F74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904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471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5541" userDrawn="1">
          <p15:clr>
            <a:srgbClr val="FBAE40"/>
          </p15:clr>
        </p15:guide>
        <p15:guide id="4" pos="5813" userDrawn="1">
          <p15:clr>
            <a:srgbClr val="FBAE40"/>
          </p15:clr>
        </p15:guide>
        <p15:guide id="5" pos="3704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568C647B-266A-4635-B98F-724E624BD4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083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28938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 userDrawn="1">
          <p15:clr>
            <a:srgbClr val="FBAE40"/>
          </p15:clr>
        </p15:guide>
        <p15:guide id="2" pos="3024" userDrawn="1">
          <p15:clr>
            <a:srgbClr val="FBAE40"/>
          </p15:clr>
        </p15:guide>
        <p15:guide id="3" pos="4656" userDrawn="1">
          <p15:clr>
            <a:srgbClr val="FBAE40"/>
          </p15:clr>
        </p15:guide>
        <p15:guide id="4" pos="5927" userDrawn="1">
          <p15:clr>
            <a:srgbClr val="FBAE40"/>
          </p15:clr>
        </p15:guide>
        <p15:guide id="5" pos="3205" userDrawn="1">
          <p15:clr>
            <a:srgbClr val="FBAE40"/>
          </p15:clr>
        </p15:guide>
        <p15:guide id="6" pos="4475" userDrawn="1">
          <p15:clr>
            <a:srgbClr val="FBAE40"/>
          </p15:clr>
        </p15:guide>
        <p15:guide id="7" pos="6108" userDrawn="1">
          <p15:clr>
            <a:srgbClr val="FBAE40"/>
          </p15:clr>
        </p15:guide>
        <p15:guide id="8" pos="15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05989B37-A21F-40ED-8EF4-0C4294010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24488CB0-CBF1-42E8-9B95-B396F89242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3303" y="1631518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28" name="Marcador de texto 83">
            <a:extLst>
              <a:ext uri="{FF2B5EF4-FFF2-40B4-BE49-F238E27FC236}">
                <a16:creationId xmlns:a16="http://schemas.microsoft.com/office/drawing/2014/main" id="{342A556E-B9D5-4597-B9B1-89DEEE0B1A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9425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7AAD0CF9-F654-4D4B-BCBD-5328D3A42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9426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0" name="Marcador de texto 15">
            <a:extLst>
              <a:ext uri="{FF2B5EF4-FFF2-40B4-BE49-F238E27FC236}">
                <a16:creationId xmlns:a16="http://schemas.microsoft.com/office/drawing/2014/main" id="{24BA68AB-8A58-44B9-B410-DE4942E154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203303" y="241393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1" name="Marcador de texto 83">
            <a:extLst>
              <a:ext uri="{FF2B5EF4-FFF2-40B4-BE49-F238E27FC236}">
                <a16:creationId xmlns:a16="http://schemas.microsoft.com/office/drawing/2014/main" id="{8B4B4487-8570-422D-8F47-16D92B3277D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9425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55968FD4-E0BD-4C5E-968D-72DDDE20EB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79426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3" name="Marcador de texto 15">
            <a:extLst>
              <a:ext uri="{FF2B5EF4-FFF2-40B4-BE49-F238E27FC236}">
                <a16:creationId xmlns:a16="http://schemas.microsoft.com/office/drawing/2014/main" id="{4A58620D-0B6F-45CE-BFA8-5D86DAA54F4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03303" y="321222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4" name="Marcador de texto 83">
            <a:extLst>
              <a:ext uri="{FF2B5EF4-FFF2-40B4-BE49-F238E27FC236}">
                <a16:creationId xmlns:a16="http://schemas.microsoft.com/office/drawing/2014/main" id="{1D4899CC-AD62-4579-9187-3E94ACAB02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9425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518C9491-059C-45F9-85BD-D3725AFCBE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9426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6" name="Marcador de texto 15">
            <a:extLst>
              <a:ext uri="{FF2B5EF4-FFF2-40B4-BE49-F238E27FC236}">
                <a16:creationId xmlns:a16="http://schemas.microsoft.com/office/drawing/2014/main" id="{049D348D-C7B8-42FD-896C-1E65D16DE95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03303" y="4021499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7" name="Marcador de texto 83">
            <a:extLst>
              <a:ext uri="{FF2B5EF4-FFF2-40B4-BE49-F238E27FC236}">
                <a16:creationId xmlns:a16="http://schemas.microsoft.com/office/drawing/2014/main" id="{C4070071-DF6C-4C5A-A985-ED177107EB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9425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2FE5E765-77AE-41B4-9713-CB3AE5C3BAE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9426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9" name="Marcador de texto 15">
            <a:extLst>
              <a:ext uri="{FF2B5EF4-FFF2-40B4-BE49-F238E27FC236}">
                <a16:creationId xmlns:a16="http://schemas.microsoft.com/office/drawing/2014/main" id="{56507D22-190D-49A2-9BBD-23D65149AB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203303" y="4800106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0" name="Marcador de texto 83">
            <a:extLst>
              <a:ext uri="{FF2B5EF4-FFF2-40B4-BE49-F238E27FC236}">
                <a16:creationId xmlns:a16="http://schemas.microsoft.com/office/drawing/2014/main" id="{8AE69186-8691-4AC8-8EE3-71F86573F7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9425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1" name="Marcador de texto 3">
            <a:extLst>
              <a:ext uri="{FF2B5EF4-FFF2-40B4-BE49-F238E27FC236}">
                <a16:creationId xmlns:a16="http://schemas.microsoft.com/office/drawing/2014/main" id="{4F8684C1-B8BA-4362-A17A-D03135DCEB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1901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2" name="Marcador de texto 15">
            <a:extLst>
              <a:ext uri="{FF2B5EF4-FFF2-40B4-BE49-F238E27FC236}">
                <a16:creationId xmlns:a16="http://schemas.microsoft.com/office/drawing/2014/main" id="{CC3710CD-AA77-4C9A-AFED-283AC51BDC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035778" y="1631518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3" name="Marcador de texto 83">
            <a:extLst>
              <a:ext uri="{FF2B5EF4-FFF2-40B4-BE49-F238E27FC236}">
                <a16:creationId xmlns:a16="http://schemas.microsoft.com/office/drawing/2014/main" id="{9F8A30FF-E62A-4B71-8F82-60E0C9076A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311900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97AC58F3-433F-4F54-8FC0-925AB56AFA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311901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5" name="Marcador de texto 15">
            <a:extLst>
              <a:ext uri="{FF2B5EF4-FFF2-40B4-BE49-F238E27FC236}">
                <a16:creationId xmlns:a16="http://schemas.microsoft.com/office/drawing/2014/main" id="{904B2323-972E-42B3-94A3-9D61A80C06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035778" y="241393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6" name="Marcador de texto 83">
            <a:extLst>
              <a:ext uri="{FF2B5EF4-FFF2-40B4-BE49-F238E27FC236}">
                <a16:creationId xmlns:a16="http://schemas.microsoft.com/office/drawing/2014/main" id="{B9909A68-A98B-481F-8E77-AF427B4BD4A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1900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7" name="Marcador de texto 3">
            <a:extLst>
              <a:ext uri="{FF2B5EF4-FFF2-40B4-BE49-F238E27FC236}">
                <a16:creationId xmlns:a16="http://schemas.microsoft.com/office/drawing/2014/main" id="{0C742AA1-84D8-46A7-AE04-B719E748494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311901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8" name="Marcador de texto 15">
            <a:extLst>
              <a:ext uri="{FF2B5EF4-FFF2-40B4-BE49-F238E27FC236}">
                <a16:creationId xmlns:a16="http://schemas.microsoft.com/office/drawing/2014/main" id="{A144223D-2F51-4ACB-A5E8-050431D95F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035778" y="3212220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9" name="Marcador de texto 83">
            <a:extLst>
              <a:ext uri="{FF2B5EF4-FFF2-40B4-BE49-F238E27FC236}">
                <a16:creationId xmlns:a16="http://schemas.microsoft.com/office/drawing/2014/main" id="{765D109B-A1A6-4408-96E6-2DE8F8F2AA5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11900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0" name="Marcador de texto 3">
            <a:extLst>
              <a:ext uri="{FF2B5EF4-FFF2-40B4-BE49-F238E27FC236}">
                <a16:creationId xmlns:a16="http://schemas.microsoft.com/office/drawing/2014/main" id="{F6AF40EA-3698-4F39-B0A7-D7BF1B6B09A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1901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1" name="Marcador de texto 15">
            <a:extLst>
              <a:ext uri="{FF2B5EF4-FFF2-40B4-BE49-F238E27FC236}">
                <a16:creationId xmlns:a16="http://schemas.microsoft.com/office/drawing/2014/main" id="{8161FD42-E3B9-4000-A2C6-93A4433D48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035778" y="4021499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2" name="Marcador de texto 83">
            <a:extLst>
              <a:ext uri="{FF2B5EF4-FFF2-40B4-BE49-F238E27FC236}">
                <a16:creationId xmlns:a16="http://schemas.microsoft.com/office/drawing/2014/main" id="{1606C338-651A-4633-9150-E37DB8E58E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1900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3" name="Marcador de texto 3">
            <a:extLst>
              <a:ext uri="{FF2B5EF4-FFF2-40B4-BE49-F238E27FC236}">
                <a16:creationId xmlns:a16="http://schemas.microsoft.com/office/drawing/2014/main" id="{152F98D6-E32D-4CD3-99C9-AE816590187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1901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4" name="Marcador de texto 15">
            <a:extLst>
              <a:ext uri="{FF2B5EF4-FFF2-40B4-BE49-F238E27FC236}">
                <a16:creationId xmlns:a16="http://schemas.microsoft.com/office/drawing/2014/main" id="{2E354619-E7E5-48FC-A49F-33A01DF634F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035778" y="4800106"/>
            <a:ext cx="3676797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5" name="Marcador de texto 83">
            <a:extLst>
              <a:ext uri="{FF2B5EF4-FFF2-40B4-BE49-F238E27FC236}">
                <a16:creationId xmlns:a16="http://schemas.microsoft.com/office/drawing/2014/main" id="{E489B60D-94FA-4FA0-BCF4-EF92F316394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1900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</p:spTree>
    <p:extLst>
      <p:ext uri="{BB962C8B-B14F-4D97-AF65-F5344CB8AC3E}">
        <p14:creationId xmlns:p14="http://schemas.microsoft.com/office/powerpoint/2010/main" val="19248993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7">
            <a:extLst>
              <a:ext uri="{FF2B5EF4-FFF2-40B4-BE49-F238E27FC236}">
                <a16:creationId xmlns:a16="http://schemas.microsoft.com/office/drawing/2014/main" id="{664980FE-7246-469A-9014-7698E58222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937"/>
            <a:ext cx="989999" cy="28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11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69A77-EFCB-4621-8D64-A8241AED05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7490C-ACB0-4090-B843-645F41773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8D81A-B3EA-4B95-AD23-E3B5AF160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811DE-5760-4395-AC7C-4C66FF5AF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93650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2FC71B-FB79-40DB-A8C3-A85F89F4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56003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2">
            <a:extLst>
              <a:ext uri="{FF2B5EF4-FFF2-40B4-BE49-F238E27FC236}">
                <a16:creationId xmlns:a16="http://schemas.microsoft.com/office/drawing/2014/main" id="{6C771000-C5B7-4F13-916C-A1E5A28A8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6" y="2665698"/>
            <a:ext cx="5324867" cy="152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5413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2">
            <a:extLst>
              <a:ext uri="{FF2B5EF4-FFF2-40B4-BE49-F238E27FC236}">
                <a16:creationId xmlns:a16="http://schemas.microsoft.com/office/drawing/2014/main" id="{6C771000-C5B7-4F13-916C-A1E5A28A86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6" y="2665698"/>
            <a:ext cx="5324867" cy="152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1147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2">
            <a:extLst>
              <a:ext uri="{FF2B5EF4-FFF2-40B4-BE49-F238E27FC236}">
                <a16:creationId xmlns:a16="http://schemas.microsoft.com/office/drawing/2014/main" id="{94EE0611-DDF1-4E04-835F-2503DD500B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5" y="2689491"/>
            <a:ext cx="5324867" cy="15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5086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2">
            <a:extLst>
              <a:ext uri="{FF2B5EF4-FFF2-40B4-BE49-F238E27FC236}">
                <a16:creationId xmlns:a16="http://schemas.microsoft.com/office/drawing/2014/main" id="{94EE0611-DDF1-4E04-835F-2503DD500B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565" y="2689491"/>
            <a:ext cx="5324867" cy="15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4036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D06AB12-8A9A-4A64-5BA1-4CCA46BA1F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9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4EC28F7-2F99-5F00-8064-1C8FC6B583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5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2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B2DBB31-05ED-875A-C1E3-099DB77C46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992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83">
            <a:extLst>
              <a:ext uri="{FF2B5EF4-FFF2-40B4-BE49-F238E27FC236}">
                <a16:creationId xmlns:a16="http://schemas.microsoft.com/office/drawing/2014/main" id="{5A28B3E8-E64D-45D8-B93C-1900DC633C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428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D547610-4888-4392-9B06-BD836DDFB363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89429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E1B36CE8-5A5C-462D-9DDA-A69B2D9A16B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89428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4" name="Marcador de texto 83">
            <a:extLst>
              <a:ext uri="{FF2B5EF4-FFF2-40B4-BE49-F238E27FC236}">
                <a16:creationId xmlns:a16="http://schemas.microsoft.com/office/drawing/2014/main" id="{BC9EB4C3-4E10-4D64-A48F-61F8177A133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405665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5029655A-8503-4E69-96DF-5FAEAF02F35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405666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1F086304-78E4-45A1-973F-A48BD2BFADE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405665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7" name="Marcador de texto 83">
            <a:extLst>
              <a:ext uri="{FF2B5EF4-FFF2-40B4-BE49-F238E27FC236}">
                <a16:creationId xmlns:a16="http://schemas.microsoft.com/office/drawing/2014/main" id="{1842456A-E355-4BF1-BD76-22A9F2B7390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321903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88A1204-4BE5-4CC7-9698-36B9DDB65EE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321904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292A0DF8-16D8-476A-A11F-113867B0FF2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21903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0" name="Marcador de texto 83">
            <a:extLst>
              <a:ext uri="{FF2B5EF4-FFF2-40B4-BE49-F238E27FC236}">
                <a16:creationId xmlns:a16="http://schemas.microsoft.com/office/drawing/2014/main" id="{71F3D73C-5B65-43C1-B3F2-B123D594EC0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238141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A812586-23A5-41F9-B670-DA16BEA6C3C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8142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3EEE5695-95AE-43FC-B0D0-E668F123249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238141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3" name="Marcador de texto 83">
            <a:extLst>
              <a:ext uri="{FF2B5EF4-FFF2-40B4-BE49-F238E27FC236}">
                <a16:creationId xmlns:a16="http://schemas.microsoft.com/office/drawing/2014/main" id="{72C17871-59E7-4B80-AD60-EAD3E13A3E7C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89428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039102C3-6724-4A20-8FB2-39DB43CDBFE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9429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E67CFF4A-B5AB-486B-8348-2B5E65DA91A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89428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/>
              <a:t>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6" name="Marcador de texto 83">
            <a:extLst>
              <a:ext uri="{FF2B5EF4-FFF2-40B4-BE49-F238E27FC236}">
                <a16:creationId xmlns:a16="http://schemas.microsoft.com/office/drawing/2014/main" id="{A50D3A72-DCA3-4900-A841-0DF5492757F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405665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1BDA7AE3-2946-48B1-BB5D-2E65D4DE855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05666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F8E8C15F-3CB3-43E6-95CD-E2B1F2DEA3F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405665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9" name="Marcador de texto 83">
            <a:extLst>
              <a:ext uri="{FF2B5EF4-FFF2-40B4-BE49-F238E27FC236}">
                <a16:creationId xmlns:a16="http://schemas.microsoft.com/office/drawing/2014/main" id="{70CBA818-D34F-4E24-BDB5-7B1D41AB4F22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321903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9F5AAB38-0339-4BBC-ADE8-28FCC86D7EF3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6321904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1" name="Textplatzhalter 8">
            <a:extLst>
              <a:ext uri="{FF2B5EF4-FFF2-40B4-BE49-F238E27FC236}">
                <a16:creationId xmlns:a16="http://schemas.microsoft.com/office/drawing/2014/main" id="{02860E13-705B-4650-B3D1-A8D527073366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321903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2" name="Marcador de texto 83">
            <a:extLst>
              <a:ext uri="{FF2B5EF4-FFF2-40B4-BE49-F238E27FC236}">
                <a16:creationId xmlns:a16="http://schemas.microsoft.com/office/drawing/2014/main" id="{CE495606-696D-4954-8229-A895B3C7E4E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9238141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53C69FDD-7612-4C32-ADB7-970B1419297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9238142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9ABD9B02-63FF-403E-984C-A4913D9EFB10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9238141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562688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 userDrawn="1">
          <p15:clr>
            <a:srgbClr val="FBAE40"/>
          </p15:clr>
        </p15:guide>
        <p15:guide id="2" orient="horz" pos="2568" userDrawn="1">
          <p15:clr>
            <a:srgbClr val="FBAE40"/>
          </p15:clr>
        </p15:guide>
        <p15:guide id="3" pos="1867" userDrawn="1">
          <p15:clr>
            <a:srgbClr val="FBAE40"/>
          </p15:clr>
        </p15:guide>
        <p15:guide id="4" pos="2139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813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52A3F-DC50-4F4E-A3B3-B0B58A3308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2565400"/>
            <a:ext cx="9288463" cy="1511300"/>
          </a:xfrm>
          <a:noFill/>
        </p:spPr>
        <p:txBody>
          <a:bodyPr anchor="b" anchorCtr="0"/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Presenta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F440E-5861-43F6-AC8F-38795A4F8F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221164"/>
            <a:ext cx="9288462" cy="10795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ation subtitle, DD.MM.YYYY</a:t>
            </a:r>
            <a:br>
              <a:rPr lang="en-US" dirty="0"/>
            </a:br>
            <a:r>
              <a:rPr lang="en-US" dirty="0"/>
              <a:t>Name, Department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97D30D4-1463-4102-B273-66A7CF9BEB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6384613"/>
            <a:ext cx="9288463" cy="284476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4AB23A0-713C-A97C-4E27-1295098327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41" y="537001"/>
            <a:ext cx="2519997" cy="75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71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orient="horz" pos="3339">
          <p15:clr>
            <a:srgbClr val="FBAE40"/>
          </p15:clr>
        </p15:guide>
        <p15:guide id="5" pos="615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05989B37-A21F-40ED-8EF4-0C4294010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11" name="Marcador de texto 15">
            <a:extLst>
              <a:ext uri="{FF2B5EF4-FFF2-40B4-BE49-F238E27FC236}">
                <a16:creationId xmlns:a16="http://schemas.microsoft.com/office/drawing/2014/main" id="{24488CB0-CBF1-42E8-9B95-B396F89242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28952" y="1631518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28" name="Marcador de texto 83">
            <a:extLst>
              <a:ext uri="{FF2B5EF4-FFF2-40B4-BE49-F238E27FC236}">
                <a16:creationId xmlns:a16="http://schemas.microsoft.com/office/drawing/2014/main" id="{342A556E-B9D5-4597-B9B1-89DEEE0B1A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9425" y="1631518"/>
            <a:ext cx="1779033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7AAD0CF9-F654-4D4B-BCBD-5328D3A42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9426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0" name="Marcador de texto 15">
            <a:extLst>
              <a:ext uri="{FF2B5EF4-FFF2-40B4-BE49-F238E27FC236}">
                <a16:creationId xmlns:a16="http://schemas.microsoft.com/office/drawing/2014/main" id="{24BA68AB-8A58-44B9-B410-DE4942E154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228952" y="241393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1" name="Marcador de texto 83">
            <a:extLst>
              <a:ext uri="{FF2B5EF4-FFF2-40B4-BE49-F238E27FC236}">
                <a16:creationId xmlns:a16="http://schemas.microsoft.com/office/drawing/2014/main" id="{8B4B4487-8570-422D-8F47-16D92B3277D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9425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55968FD4-E0BD-4C5E-968D-72DDDE20EB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79426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3" name="Marcador de texto 15">
            <a:extLst>
              <a:ext uri="{FF2B5EF4-FFF2-40B4-BE49-F238E27FC236}">
                <a16:creationId xmlns:a16="http://schemas.microsoft.com/office/drawing/2014/main" id="{4A58620D-0B6F-45CE-BFA8-5D86DAA54F4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28952" y="321222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4" name="Marcador de texto 83">
            <a:extLst>
              <a:ext uri="{FF2B5EF4-FFF2-40B4-BE49-F238E27FC236}">
                <a16:creationId xmlns:a16="http://schemas.microsoft.com/office/drawing/2014/main" id="{1D4899CC-AD62-4579-9187-3E94ACAB02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9425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518C9491-059C-45F9-85BD-D3725AFCBE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9426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6" name="Marcador de texto 15">
            <a:extLst>
              <a:ext uri="{FF2B5EF4-FFF2-40B4-BE49-F238E27FC236}">
                <a16:creationId xmlns:a16="http://schemas.microsoft.com/office/drawing/2014/main" id="{049D348D-C7B8-42FD-896C-1E65D16DE95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28952" y="4021499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57" name="Marcador de texto 83">
            <a:extLst>
              <a:ext uri="{FF2B5EF4-FFF2-40B4-BE49-F238E27FC236}">
                <a16:creationId xmlns:a16="http://schemas.microsoft.com/office/drawing/2014/main" id="{C4070071-DF6C-4C5A-A985-ED177107EBE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79425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2FE5E765-77AE-41B4-9713-CB3AE5C3BAE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79426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59" name="Marcador de texto 15">
            <a:extLst>
              <a:ext uri="{FF2B5EF4-FFF2-40B4-BE49-F238E27FC236}">
                <a16:creationId xmlns:a16="http://schemas.microsoft.com/office/drawing/2014/main" id="{56507D22-190D-49A2-9BBD-23D65149AB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228952" y="4800106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0" name="Marcador de texto 83">
            <a:extLst>
              <a:ext uri="{FF2B5EF4-FFF2-40B4-BE49-F238E27FC236}">
                <a16:creationId xmlns:a16="http://schemas.microsoft.com/office/drawing/2014/main" id="{8AE69186-8691-4AC8-8EE3-71F86573F77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9425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1" name="Marcador de texto 3">
            <a:extLst>
              <a:ext uri="{FF2B5EF4-FFF2-40B4-BE49-F238E27FC236}">
                <a16:creationId xmlns:a16="http://schemas.microsoft.com/office/drawing/2014/main" id="{4F8684C1-B8BA-4362-A17A-D03135DCEB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11901" y="1955173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2" name="Marcador de texto 15">
            <a:extLst>
              <a:ext uri="{FF2B5EF4-FFF2-40B4-BE49-F238E27FC236}">
                <a16:creationId xmlns:a16="http://schemas.microsoft.com/office/drawing/2014/main" id="{CC3710CD-AA77-4C9A-AFED-283AC51BDC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061427" y="1631518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3" name="Marcador de texto 83">
            <a:extLst>
              <a:ext uri="{FF2B5EF4-FFF2-40B4-BE49-F238E27FC236}">
                <a16:creationId xmlns:a16="http://schemas.microsoft.com/office/drawing/2014/main" id="{9F8A30FF-E62A-4B71-8F82-60E0C9076A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311900" y="1631518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97AC58F3-433F-4F54-8FC0-925AB56AFA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311901" y="273758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5" name="Marcador de texto 15">
            <a:extLst>
              <a:ext uri="{FF2B5EF4-FFF2-40B4-BE49-F238E27FC236}">
                <a16:creationId xmlns:a16="http://schemas.microsoft.com/office/drawing/2014/main" id="{904B2323-972E-42B3-94A3-9D61A80C06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061427" y="241393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6" name="Marcador de texto 83">
            <a:extLst>
              <a:ext uri="{FF2B5EF4-FFF2-40B4-BE49-F238E27FC236}">
                <a16:creationId xmlns:a16="http://schemas.microsoft.com/office/drawing/2014/main" id="{B9909A68-A98B-481F-8E77-AF427B4BD4A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1900" y="241393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67" name="Marcador de texto 3">
            <a:extLst>
              <a:ext uri="{FF2B5EF4-FFF2-40B4-BE49-F238E27FC236}">
                <a16:creationId xmlns:a16="http://schemas.microsoft.com/office/drawing/2014/main" id="{0C742AA1-84D8-46A7-AE04-B719E748494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311901" y="3535875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68" name="Marcador de texto 15">
            <a:extLst>
              <a:ext uri="{FF2B5EF4-FFF2-40B4-BE49-F238E27FC236}">
                <a16:creationId xmlns:a16="http://schemas.microsoft.com/office/drawing/2014/main" id="{A144223D-2F51-4ACB-A5E8-050431D95F1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061427" y="3212220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69" name="Marcador de texto 83">
            <a:extLst>
              <a:ext uri="{FF2B5EF4-FFF2-40B4-BE49-F238E27FC236}">
                <a16:creationId xmlns:a16="http://schemas.microsoft.com/office/drawing/2014/main" id="{765D109B-A1A6-4408-96E6-2DE8F8F2AA5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11900" y="3212220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0" name="Marcador de texto 3">
            <a:extLst>
              <a:ext uri="{FF2B5EF4-FFF2-40B4-BE49-F238E27FC236}">
                <a16:creationId xmlns:a16="http://schemas.microsoft.com/office/drawing/2014/main" id="{F6AF40EA-3698-4F39-B0A7-D7BF1B6B09A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1901" y="4345154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1" name="Marcador de texto 15">
            <a:extLst>
              <a:ext uri="{FF2B5EF4-FFF2-40B4-BE49-F238E27FC236}">
                <a16:creationId xmlns:a16="http://schemas.microsoft.com/office/drawing/2014/main" id="{8161FD42-E3B9-4000-A2C6-93A4433D486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061427" y="4021499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2" name="Marcador de texto 83">
            <a:extLst>
              <a:ext uri="{FF2B5EF4-FFF2-40B4-BE49-F238E27FC236}">
                <a16:creationId xmlns:a16="http://schemas.microsoft.com/office/drawing/2014/main" id="{1606C338-651A-4633-9150-E37DB8E58E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1900" y="4021499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  <p:sp>
        <p:nvSpPr>
          <p:cNvPr id="73" name="Marcador de texto 3">
            <a:extLst>
              <a:ext uri="{FF2B5EF4-FFF2-40B4-BE49-F238E27FC236}">
                <a16:creationId xmlns:a16="http://schemas.microsoft.com/office/drawing/2014/main" id="{152F98D6-E32D-4CD3-99C9-AE816590187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1901" y="5123761"/>
            <a:ext cx="3455988" cy="458757"/>
          </a:xfrm>
          <a:prstGeom prst="rect">
            <a:avLst/>
          </a:prstGeom>
        </p:spPr>
        <p:txBody>
          <a:bodyPr wrap="square" lIns="0" bIns="180000" numCol="1">
            <a:spAutoFit/>
          </a:bodyPr>
          <a:lstStyle>
            <a:lvl1pPr algn="just">
              <a:defRPr sz="1800">
                <a:solidFill>
                  <a:schemeClr val="tx1"/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Content]</a:t>
            </a:r>
          </a:p>
        </p:txBody>
      </p:sp>
      <p:sp>
        <p:nvSpPr>
          <p:cNvPr id="74" name="Marcador de texto 15">
            <a:extLst>
              <a:ext uri="{FF2B5EF4-FFF2-40B4-BE49-F238E27FC236}">
                <a16:creationId xmlns:a16="http://schemas.microsoft.com/office/drawing/2014/main" id="{2E354619-E7E5-48FC-A49F-33A01DF634F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061427" y="4800106"/>
            <a:ext cx="3651148" cy="307777"/>
          </a:xfrm>
          <a:prstGeom prst="rect">
            <a:avLst/>
          </a:prstGeom>
        </p:spPr>
        <p:txBody>
          <a:bodyPr wrap="none" lIns="90000" bIns="0">
            <a:spAutoFit/>
          </a:bodyPr>
          <a:lstStyle>
            <a:lvl1pPr algn="r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dirty="0"/>
              <a:t>………………………………………………… 00</a:t>
            </a:r>
          </a:p>
        </p:txBody>
      </p:sp>
      <p:sp>
        <p:nvSpPr>
          <p:cNvPr id="75" name="Marcador de texto 83">
            <a:extLst>
              <a:ext uri="{FF2B5EF4-FFF2-40B4-BE49-F238E27FC236}">
                <a16:creationId xmlns:a16="http://schemas.microsoft.com/office/drawing/2014/main" id="{E489B60D-94FA-4FA0-BCF4-EF92F316394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311900" y="4800106"/>
            <a:ext cx="1822315" cy="307777"/>
          </a:xfrm>
          <a:prstGeom prst="rect">
            <a:avLst/>
          </a:prstGeom>
          <a:solidFill>
            <a:schemeClr val="bg1"/>
          </a:solidFill>
        </p:spPr>
        <p:txBody>
          <a:bodyPr wrap="none" lIns="0" rIns="90000" bIns="0">
            <a:sp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[</a:t>
            </a:r>
            <a:r>
              <a:rPr lang="de-DE" noProof="0" dirty="0" err="1"/>
              <a:t>Section</a:t>
            </a:r>
            <a:r>
              <a:rPr lang="de-DE" noProof="0" dirty="0"/>
              <a:t> Title]</a:t>
            </a:r>
          </a:p>
        </p:txBody>
      </p:sp>
    </p:spTree>
    <p:extLst>
      <p:ext uri="{BB962C8B-B14F-4D97-AF65-F5344CB8AC3E}">
        <p14:creationId xmlns:p14="http://schemas.microsoft.com/office/powerpoint/2010/main" val="22207520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Index title]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9" name="Marcador de texto 83">
            <a:extLst>
              <a:ext uri="{FF2B5EF4-FFF2-40B4-BE49-F238E27FC236}">
                <a16:creationId xmlns:a16="http://schemas.microsoft.com/office/drawing/2014/main" id="{5A28B3E8-E64D-45D8-B93C-1900DC633C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89428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D547610-4888-4392-9B06-BD836DDFB363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89429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E1B36CE8-5A5C-462D-9DDA-A69B2D9A16B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89428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4" name="Marcador de texto 83">
            <a:extLst>
              <a:ext uri="{FF2B5EF4-FFF2-40B4-BE49-F238E27FC236}">
                <a16:creationId xmlns:a16="http://schemas.microsoft.com/office/drawing/2014/main" id="{BC9EB4C3-4E10-4D64-A48F-61F8177A133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3405665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5029655A-8503-4E69-96DF-5FAEAF02F353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405666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1F086304-78E4-45A1-973F-A48BD2BFADE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405665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7" name="Marcador de texto 83">
            <a:extLst>
              <a:ext uri="{FF2B5EF4-FFF2-40B4-BE49-F238E27FC236}">
                <a16:creationId xmlns:a16="http://schemas.microsoft.com/office/drawing/2014/main" id="{1842456A-E355-4BF1-BD76-22A9F2B7390B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6321903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988A1204-4BE5-4CC7-9698-36B9DDB65EEC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321904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39" name="Textplatzhalter 8">
            <a:extLst>
              <a:ext uri="{FF2B5EF4-FFF2-40B4-BE49-F238E27FC236}">
                <a16:creationId xmlns:a16="http://schemas.microsoft.com/office/drawing/2014/main" id="{292A0DF8-16D8-476A-A11F-113867B0FF2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321903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0" name="Marcador de texto 83">
            <a:extLst>
              <a:ext uri="{FF2B5EF4-FFF2-40B4-BE49-F238E27FC236}">
                <a16:creationId xmlns:a16="http://schemas.microsoft.com/office/drawing/2014/main" id="{71F3D73C-5B65-43C1-B3F2-B123D594EC01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238141" y="1539739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CA812586-23A5-41F9-B670-DA16BEA6C3C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8142" y="2360339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2" name="Textplatzhalter 8">
            <a:extLst>
              <a:ext uri="{FF2B5EF4-FFF2-40B4-BE49-F238E27FC236}">
                <a16:creationId xmlns:a16="http://schemas.microsoft.com/office/drawing/2014/main" id="{3EEE5695-95AE-43FC-B0D0-E668F123249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238141" y="2889933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3" name="Marcador de texto 83">
            <a:extLst>
              <a:ext uri="{FF2B5EF4-FFF2-40B4-BE49-F238E27FC236}">
                <a16:creationId xmlns:a16="http://schemas.microsoft.com/office/drawing/2014/main" id="{72C17871-59E7-4B80-AD60-EAD3E13A3E7C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89428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039102C3-6724-4A20-8FB2-39DB43CDBFE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9429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5" name="Textplatzhalter 8">
            <a:extLst>
              <a:ext uri="{FF2B5EF4-FFF2-40B4-BE49-F238E27FC236}">
                <a16:creationId xmlns:a16="http://schemas.microsoft.com/office/drawing/2014/main" id="{E67CFF4A-B5AB-486B-8348-2B5E65DA91AC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89428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6" name="Marcador de texto 83">
            <a:extLst>
              <a:ext uri="{FF2B5EF4-FFF2-40B4-BE49-F238E27FC236}">
                <a16:creationId xmlns:a16="http://schemas.microsoft.com/office/drawing/2014/main" id="{A50D3A72-DCA3-4900-A841-0DF5492757F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3405665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1BDA7AE3-2946-48B1-BB5D-2E65D4DE8552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05666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F8E8C15F-3CB3-43E6-95CD-E2B1F2DEA3FF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3405665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49" name="Marcador de texto 83">
            <a:extLst>
              <a:ext uri="{FF2B5EF4-FFF2-40B4-BE49-F238E27FC236}">
                <a16:creationId xmlns:a16="http://schemas.microsoft.com/office/drawing/2014/main" id="{70CBA818-D34F-4E24-BDB5-7B1D41AB4F22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321903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9F5AAB38-0339-4BBC-ADE8-28FCC86D7EF3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6321904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1" name="Textplatzhalter 8">
            <a:extLst>
              <a:ext uri="{FF2B5EF4-FFF2-40B4-BE49-F238E27FC236}">
                <a16:creationId xmlns:a16="http://schemas.microsoft.com/office/drawing/2014/main" id="{02860E13-705B-4650-B3D1-A8D527073366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6321903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2" name="Marcador de texto 83">
            <a:extLst>
              <a:ext uri="{FF2B5EF4-FFF2-40B4-BE49-F238E27FC236}">
                <a16:creationId xmlns:a16="http://schemas.microsoft.com/office/drawing/2014/main" id="{CE495606-696D-4954-8229-A895B3C7E4E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9238141" y="3987444"/>
            <a:ext cx="1502886" cy="820600"/>
          </a:xfrm>
          <a:prstGeom prst="rect">
            <a:avLst/>
          </a:prstGeom>
        </p:spPr>
        <p:txBody>
          <a:bodyPr wrap="square" lIns="0" bIns="7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/>
              <a:t>[00]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53C69FDD-7612-4C32-ADB7-970B1419297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9238142" y="4808044"/>
            <a:ext cx="2474434" cy="523220"/>
          </a:xfrm>
          <a:prstGeom prst="rect">
            <a:avLst/>
          </a:prstGeom>
        </p:spPr>
        <p:txBody>
          <a:bodyPr l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</a:t>
            </a:r>
            <a:r>
              <a:rPr lang="es-ES" sz="1700" dirty="0" err="1"/>
              <a:t>Title</a:t>
            </a:r>
            <a:r>
              <a:rPr lang="es-ES" sz="1700" dirty="0"/>
              <a:t>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9ABD9B02-63FF-403E-984C-A4913D9EFB10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9238141" y="5337638"/>
            <a:ext cx="2474434" cy="53657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r>
              <a:rPr lang="es-ES" sz="1700" dirty="0"/>
              <a:t>[</a:t>
            </a:r>
            <a:r>
              <a:rPr lang="de-DE" noProof="0" dirty="0" err="1"/>
              <a:t>Section</a:t>
            </a:r>
            <a:r>
              <a:rPr lang="es-ES" sz="1700" dirty="0"/>
              <a:t> Content, </a:t>
            </a:r>
            <a:br>
              <a:rPr lang="es-ES" sz="1700" dirty="0"/>
            </a:br>
            <a:r>
              <a:rPr lang="es-ES" sz="1700" dirty="0" err="1"/>
              <a:t>max</a:t>
            </a:r>
            <a:r>
              <a:rPr lang="es-ES" sz="1700" dirty="0"/>
              <a:t>. 2 </a:t>
            </a:r>
            <a:r>
              <a:rPr lang="es-ES" sz="1700" dirty="0" err="1"/>
              <a:t>lines</a:t>
            </a:r>
            <a:r>
              <a:rPr lang="es-ES" sz="1700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70709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pos="1867">
          <p15:clr>
            <a:srgbClr val="FBAE40"/>
          </p15:clr>
        </p15:guide>
        <p15:guide id="4" pos="2139">
          <p15:clr>
            <a:srgbClr val="FBAE40"/>
          </p15:clr>
        </p15:guide>
        <p15:guide id="5" pos="5541">
          <p15:clr>
            <a:srgbClr val="FBAE40"/>
          </p15:clr>
        </p15:guide>
        <p15:guide id="6" pos="581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BE9116-9D33-4565-893E-AD8DFB4AD1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99687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51"/>
            <a:ext cx="5400674" cy="3203574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D1D5E4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6276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2">
    <p:bg>
      <p:bgPr>
        <a:solidFill>
          <a:srgbClr val="E3E5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B0B6CA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2092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3">
    <p:bg>
      <p:bgPr>
        <a:solidFill>
          <a:srgbClr val="EC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1" y="2889249"/>
            <a:ext cx="5400674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918407-C05B-3E49-D08A-DA46BF61A8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15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4">
    <p:bg>
      <p:bgPr>
        <a:solidFill>
          <a:srgbClr val="5861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14B6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89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FAC43-231E-4831-9B50-FAC464F32B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AFCFD-7280-4EB9-A954-62EB11E481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1899" y="1628774"/>
            <a:ext cx="5400676" cy="44640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83356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8C47DE-CE31-4FCD-84DE-AA19E8D8D8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9535F1-98B6-44BA-8CB7-0EB471C816B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6" y="2505074"/>
            <a:ext cx="5400674" cy="3587751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32C83F-C7C2-4A49-BCB9-66496AD21CC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11900" y="1628775"/>
            <a:ext cx="5400674" cy="876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[Headline]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41120-5A71-4D97-B4AC-E89EE27998A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11900" y="2505075"/>
            <a:ext cx="5400674" cy="3587750"/>
          </a:xfrm>
        </p:spPr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B127E16-5757-484F-829C-BDCE1FA9B1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8566F2-9AE9-4E80-A0D3-6DAB7BEE1D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AA9D59C-5DC6-4592-B036-39C4E05EF1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2FB3E8-F79A-4E8A-BEFD-161CC9A40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614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C2D37-CF1A-4F33-9877-9E869AE002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BE9116-9D33-4565-893E-AD8DFB4AD1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37BF80-87DE-478C-B663-156C68EE6E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570A1-38CE-4E32-8E62-0999E8D2B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781102-D06F-4C90-8D42-FBDF717A57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932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6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0E38B5F-7988-4212-A3BB-2FE1BB42608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1902" y="1628775"/>
            <a:ext cx="5400674" cy="4464049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2308333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00600" y="549275"/>
            <a:ext cx="6911974" cy="5543550"/>
          </a:xfr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3887787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]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49275"/>
            <a:ext cx="3887788" cy="792163"/>
          </a:xfrm>
        </p:spPr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8503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275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DCFA1A-6D7B-438A-9E19-E7ACB26A9D4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448587" y="522871"/>
            <a:ext cx="5616000" cy="5616000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317131-5E4A-47A2-BFB7-77004490CDB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9425" y="1633225"/>
            <a:ext cx="4321174" cy="445959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0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60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1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519F26-7489-4CE8-A3CF-5F37AD6672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8238C4-6828-4245-AC2E-0F9680DBA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172DD4-44CA-49E2-8373-9CF7BF806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549275"/>
            <a:ext cx="4321175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CA15E7-671A-4EDC-A1E9-51B196B2AC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DE9480F-8CC0-657B-3D54-DA7FFE5B77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5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4">
          <p15:clr>
            <a:srgbClr val="FBAE40"/>
          </p15:clr>
        </p15:guide>
        <p15:guide id="2" pos="3432">
          <p15:clr>
            <a:srgbClr val="FBAE40"/>
          </p15:clr>
        </p15:guide>
        <p15:guide id="3" pos="697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8164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B0B6CA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CE0F82E8-60DF-4543-B9DD-CD8013F09A38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367213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0C5BA1-637F-44BE-B059-6689F1C151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213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47D8210-68DD-4771-97E6-9BDC12ED4F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213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F7C4598-6034-4006-B908-DCF2D85C6EDA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8256588" y="1628774"/>
            <a:ext cx="3455988" cy="345598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5DC3B77-0620-460A-8CD9-7E54FABA30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5084762"/>
            <a:ext cx="3455988" cy="55242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  <a:endParaRPr lang="de-DE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2251A7C-D7CD-4375-9914-04782E67D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588" y="5637185"/>
            <a:ext cx="3455988" cy="455640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33ECA22-F68E-51BA-156B-F872C9CC07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61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2751">
          <p15:clr>
            <a:srgbClr val="FBAE40"/>
          </p15:clr>
        </p15:guide>
        <p15:guide id="3" pos="4929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317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D7816-2178-4F17-B211-EF0C2B905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DDE8EA-022D-4A11-A5DC-13E10C214B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24EB219-181C-47DE-AB4C-8D596334067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395663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BBF8BB-C222-49F2-B544-AB1ED2947D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95663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309053-6B6F-4CFD-A6C5-CBE6D2EE6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5663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8D2119DE-F967-4642-9D47-B9FAF377D90D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6311901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3326876-4316-41DF-8914-824BB026D1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1901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E5FA0C-32AF-49D3-949E-47744E3D5C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01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5E7755A8-A6D3-4159-876A-8040314BDCAC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228139" y="1628774"/>
            <a:ext cx="2484438" cy="2484438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5B62CEF-EFDC-43A8-BB9A-B20DD95C29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139" y="4124336"/>
            <a:ext cx="2484438" cy="814033"/>
          </a:xfrm>
        </p:spPr>
        <p:txBody>
          <a:bodyPr wrap="square" tIns="180000" bIns="108000">
            <a:spAutoFit/>
          </a:bodyPr>
          <a:lstStyle>
            <a:lvl1pPr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Subhead</a:t>
            </a:r>
            <a:br>
              <a:rPr lang="en-US" dirty="0"/>
            </a:br>
            <a:r>
              <a:rPr lang="en-US" dirty="0"/>
              <a:t>2 lines]</a:t>
            </a:r>
            <a:endParaRPr lang="de-DE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1BCCB53-5350-46B2-9498-11807E6BAEE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139" y="4938369"/>
            <a:ext cx="2484438" cy="1154456"/>
          </a:xfrm>
        </p:spPr>
        <p:txBody>
          <a:bodyPr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Body copy]</a:t>
            </a: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5DE86DF-CF93-A7FC-6145-A391844E3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86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7">
          <p15:clr>
            <a:srgbClr val="FBAE40"/>
          </p15:clr>
        </p15:guide>
        <p15:guide id="2" pos="2139">
          <p15:clr>
            <a:srgbClr val="FBAE40"/>
          </p15:clr>
        </p15:guide>
        <p15:guide id="3" pos="5541">
          <p15:clr>
            <a:srgbClr val="FBAE40"/>
          </p15:clr>
        </p15:guide>
        <p15:guide id="4" pos="5813">
          <p15:clr>
            <a:srgbClr val="FBAE40"/>
          </p15:clr>
        </p15:guide>
        <p15:guide id="5" pos="3704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01647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Pictures with Captions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73670-DDE1-4FAD-8C22-A27D55C9F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A17C7F-C180-4D7B-8F66-C015B6FA7A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2FFA262-DA28-4D6A-AF5C-9364DCBE4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3C129A2-B366-4BFE-A6B1-406D8BF824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558D7CF-E27F-43BB-BA0E-E6A52C8541E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794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4083A-2F11-430B-AFD6-DB2EA6D58D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01CFD62-58EE-4EAC-917F-57EEABA68C2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7844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72E3E850-2ECF-4C43-8EF2-E86005695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44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419A36D-BAAB-4834-8FBD-B165F189562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0895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80C1360-1C4F-426B-A9E6-38F87F52A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5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535F663F-4652-4170-A76E-F82FBC75E56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9457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59B3218-FD83-4EB9-A944-46FB467038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57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CDBBDB9-B43F-4D6C-9332-51D6EDA8A34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9699625" y="1628774"/>
            <a:ext cx="2016125" cy="2016125"/>
          </a:xfrm>
          <a:prstGeom prst="ellipse">
            <a:avLst/>
          </a:prstGeom>
          <a:solidFill>
            <a:srgbClr val="D1D5E4"/>
          </a:solidFill>
        </p:spPr>
        <p:txBody>
          <a:bodyPr anchor="ctr"/>
          <a:lstStyle>
            <a:lvl1pPr marL="0" indent="0" algn="ctr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[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]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42D7761-0429-4F4C-909D-65FA7BB0F8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99625" y="3644899"/>
            <a:ext cx="2016125" cy="2447926"/>
          </a:xfrm>
        </p:spPr>
        <p:txBody>
          <a:bodyPr tIns="28800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[Copy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,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 and </a:t>
            </a:r>
            <a:r>
              <a:rPr lang="de-DE" dirty="0" err="1"/>
              <a:t>higher</a:t>
            </a:r>
            <a:r>
              <a:rPr lang="de-DE" dirty="0"/>
              <a:t>]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F367162-CBD1-E1B1-07F4-285BA149B0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380161"/>
            <a:ext cx="989998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53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5927">
          <p15:clr>
            <a:srgbClr val="FBAE40"/>
          </p15:clr>
        </p15:guide>
        <p15:guide id="5" pos="3205">
          <p15:clr>
            <a:srgbClr val="FBAE40"/>
          </p15:clr>
        </p15:guide>
        <p15:guide id="6" pos="4475">
          <p15:clr>
            <a:srgbClr val="FBAE40"/>
          </p15:clr>
        </p15:guide>
        <p15:guide id="7" pos="6108">
          <p15:clr>
            <a:srgbClr val="FBAE40"/>
          </p15:clr>
        </p15:guide>
        <p15:guide id="8" pos="15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69A77-EFCB-4621-8D64-A8241AED05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7490C-ACB0-4090-B843-645F41773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8D81A-B3EA-4B95-AD23-E3B5AF160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811DE-5760-4395-AC7C-4C66FF5AF1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225425"/>
            <a:ext cx="10585450" cy="3238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300" b="1" kern="1000" cap="all" spc="1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[Overlin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551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rgbClr val="4D5EC0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712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 userDrawn="1">
          <p15:clr>
            <a:srgbClr val="FBAE40"/>
          </p15:clr>
        </p15:guide>
        <p15:guide id="2" orient="horz" pos="1979" userDrawn="1">
          <p15:clr>
            <a:srgbClr val="FBAE40"/>
          </p15:clr>
        </p15:guide>
        <p15:guide id="3" orient="horz" pos="2659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2FC71B-FB79-40DB-A8C3-A85F89F40D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8339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E461E4B-09E2-28EA-5609-52464326F6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607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1D5E4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BE9E1B1-544D-27C5-59A5-BEF53B33E8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390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22B0F68-B1F2-6838-C650-D3B67E9A30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5954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-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B9A6A-1BD6-47D0-A41A-0117EF4F34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80694FB-AD1D-E3CB-98E3-1C9B555034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32" y="2614836"/>
            <a:ext cx="5400000" cy="162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557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-2">
    <p:bg>
      <p:bgPr>
        <a:solidFill>
          <a:srgbClr val="B1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41FD4-C9B3-44F5-AC0C-9D63FAA99C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1900" y="2889249"/>
            <a:ext cx="5400675" cy="3203575"/>
          </a:xfrm>
        </p:spPr>
        <p:txBody>
          <a:bodyPr wrap="none"/>
          <a:lstStyle>
            <a:lvl1pPr algn="r">
              <a:lnSpc>
                <a:spcPct val="90000"/>
              </a:lnSpc>
              <a:spcBef>
                <a:spcPts val="0"/>
              </a:spcBef>
              <a:defRPr sz="260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1546A7-286C-46C8-AC1F-EA5379C8B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41438"/>
            <a:ext cx="8316913" cy="1547812"/>
          </a:xfrm>
        </p:spPr>
        <p:txBody>
          <a:bodyPr anchor="b">
            <a:noAutofit/>
          </a:bodyPr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ection title</a:t>
            </a:r>
            <a:br>
              <a:rPr lang="en-US" dirty="0"/>
            </a:br>
            <a:r>
              <a:rPr lang="en-US" dirty="0"/>
              <a:t>max. over two lines]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7FD96-6F2C-4B21-A42A-4B511AA36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3141664"/>
            <a:ext cx="5400674" cy="10795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</a:t>
            </a:r>
            <a:br>
              <a:rPr lang="en-US" dirty="0"/>
            </a:br>
            <a:r>
              <a:rPr lang="en-US" dirty="0"/>
              <a:t>max. over two lines]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836B6A-B329-4205-BFEA-81E5B5ECAB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C212-B379-4926-95F8-1D98CE29D8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247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orient="horz" pos="1979">
          <p15:clr>
            <a:srgbClr val="FBAE40"/>
          </p15:clr>
        </p15:guide>
        <p15:guide id="3" orient="horz" pos="2659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6.emf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image" Target="../media/image20.emf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01F6A8-B726-F5F9-2DD4-DC3A45010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81377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24" imgH="324" progId="TCLayout.ActiveDocument.1">
                  <p:embed/>
                </p:oleObj>
              </mc:Choice>
              <mc:Fallback>
                <p:oleObj name="think-cell Folie" r:id="rId31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EA03F-EE81-4BD1-8480-8FF4125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49275"/>
            <a:ext cx="10585450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EE915-E94B-427C-8DF4-EFAE8D621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28774"/>
            <a:ext cx="11233150" cy="4464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801DD-8213-4213-9A7E-A7DC35B72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113" y="6384613"/>
            <a:ext cx="7343775" cy="284476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1200" b="0">
                <a:solidFill>
                  <a:srgbClr val="808080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7EB9-6CB2-456F-9E90-71B0928A4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688" y="6384613"/>
            <a:ext cx="1512886" cy="2844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E436F2C-DC07-4B7C-A55E-92AA8DB18AF0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0303" y="0"/>
            <a:ext cx="816855" cy="792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124FC87-CC4B-4BB8-A062-BEDAAFAC9D9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6" y="6457719"/>
            <a:ext cx="1440157" cy="20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78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4201" userDrawn="1">
          <p15:clr>
            <a:srgbClr val="F26B43"/>
          </p15:clr>
        </p15:guide>
        <p15:guide id="10" orient="horz" pos="142" userDrawn="1">
          <p15:clr>
            <a:srgbClr val="F26B43"/>
          </p15:clr>
        </p15:guide>
        <p15:guide id="14" pos="3704" userDrawn="1">
          <p15:clr>
            <a:srgbClr val="F26B43"/>
          </p15:clr>
        </p15:guide>
        <p15:guide id="15" pos="3976" userDrawn="1">
          <p15:clr>
            <a:srgbClr val="F26B43"/>
          </p15:clr>
        </p15:guide>
        <p15:guide id="24" pos="3840" userDrawn="1">
          <p15:clr>
            <a:srgbClr val="F26B43"/>
          </p15:clr>
        </p15:guide>
        <p15:guide id="25" pos="69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D84687-1144-CEA4-BAF1-8984B3DD3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36901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24" imgH="324" progId="TCLayout.ActiveDocument.1">
                  <p:embed/>
                </p:oleObj>
              </mc:Choice>
              <mc:Fallback>
                <p:oleObj name="think-cell Folie" r:id="rId31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EA03F-EE81-4BD1-8480-8FF4125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49275"/>
            <a:ext cx="10585450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EE915-E94B-427C-8DF4-EFAE8D621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28774"/>
            <a:ext cx="11233150" cy="4464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801DD-8213-4213-9A7E-A7DC35B72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113" y="6384613"/>
            <a:ext cx="7343775" cy="284476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7EB9-6CB2-456F-9E90-71B0928A4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688" y="6384613"/>
            <a:ext cx="1512886" cy="2844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2" name="Grafik 7">
            <a:extLst>
              <a:ext uri="{FF2B5EF4-FFF2-40B4-BE49-F238E27FC236}">
                <a16:creationId xmlns:a16="http://schemas.microsoft.com/office/drawing/2014/main" id="{0B9EF779-F41D-4A46-A808-47C554D245EE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2753" y="6384654"/>
            <a:ext cx="990000" cy="28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349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9" r:id="rId4"/>
    <p:sldLayoutId id="2147483658" r:id="rId5"/>
    <p:sldLayoutId id="2147483659" r:id="rId6"/>
    <p:sldLayoutId id="2147483650" r:id="rId7"/>
    <p:sldLayoutId id="2147483651" r:id="rId8"/>
    <p:sldLayoutId id="2147483662" r:id="rId9"/>
    <p:sldLayoutId id="2147483663" r:id="rId10"/>
    <p:sldLayoutId id="2147483664" r:id="rId11"/>
    <p:sldLayoutId id="2147483652" r:id="rId12"/>
    <p:sldLayoutId id="2147483653" r:id="rId13"/>
    <p:sldLayoutId id="2147483671" r:id="rId14"/>
    <p:sldLayoutId id="2147483657" r:id="rId15"/>
    <p:sldLayoutId id="2147483670" r:id="rId16"/>
    <p:sldLayoutId id="2147483672" r:id="rId17"/>
    <p:sldLayoutId id="2147483674" r:id="rId18"/>
    <p:sldLayoutId id="2147483673" r:id="rId19"/>
    <p:sldLayoutId id="2147483675" r:id="rId20"/>
    <p:sldLayoutId id="2147483676" r:id="rId21"/>
    <p:sldLayoutId id="2147483677" r:id="rId22"/>
    <p:sldLayoutId id="2147483654" r:id="rId23"/>
    <p:sldLayoutId id="2147483655" r:id="rId24"/>
    <p:sldLayoutId id="2147483665" r:id="rId25"/>
    <p:sldLayoutId id="2147483666" r:id="rId26"/>
    <p:sldLayoutId id="2147483667" r:id="rId27"/>
    <p:sldLayoutId id="2147483668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4201" userDrawn="1">
          <p15:clr>
            <a:srgbClr val="F26B43"/>
          </p15:clr>
        </p15:guide>
        <p15:guide id="10" orient="horz" pos="142" userDrawn="1">
          <p15:clr>
            <a:srgbClr val="F26B43"/>
          </p15:clr>
        </p15:guide>
        <p15:guide id="14" pos="3704" userDrawn="1">
          <p15:clr>
            <a:srgbClr val="F26B43"/>
          </p15:clr>
        </p15:guide>
        <p15:guide id="15" pos="3976" userDrawn="1">
          <p15:clr>
            <a:srgbClr val="F26B43"/>
          </p15:clr>
        </p15:guide>
        <p15:guide id="24" pos="3840" userDrawn="1">
          <p15:clr>
            <a:srgbClr val="F26B43"/>
          </p15:clr>
        </p15:guide>
        <p15:guide id="25" pos="697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4D660-F2B0-4093-43E3-22FC011AB7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64808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24" imgH="324" progId="TCLayout.ActiveDocument.1">
                  <p:embed/>
                </p:oleObj>
              </mc:Choice>
              <mc:Fallback>
                <p:oleObj name="think-cell Folie" r:id="rId31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2EA03F-EE81-4BD1-8480-8FF412573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49275"/>
            <a:ext cx="10585450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2EE915-E94B-427C-8DF4-EFAE8D621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628774"/>
            <a:ext cx="11233150" cy="4464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801DD-8213-4213-9A7E-A7DC35B72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113" y="6384613"/>
            <a:ext cx="7343775" cy="284476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– Beschränkter Zugriff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7EB9-6CB2-456F-9E90-71B0928A4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9688" y="6384613"/>
            <a:ext cx="1512886" cy="2844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C855A57-AD83-4310-9955-E4EFF1A7809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DE8CCAB-8857-F3C2-9483-67066A73332A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5" y="6380161"/>
            <a:ext cx="990000" cy="29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90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921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4201">
          <p15:clr>
            <a:srgbClr val="F26B43"/>
          </p15:clr>
        </p15:guide>
        <p15:guide id="10" orient="horz" pos="142">
          <p15:clr>
            <a:srgbClr val="F26B43"/>
          </p15:clr>
        </p15:guide>
        <p15:guide id="14" pos="3704">
          <p15:clr>
            <a:srgbClr val="F26B43"/>
          </p15:clr>
        </p15:guide>
        <p15:guide id="15" pos="3976">
          <p15:clr>
            <a:srgbClr val="F26B43"/>
          </p15:clr>
        </p15:guide>
        <p15:guide id="24" pos="3840">
          <p15:clr>
            <a:srgbClr val="F26B43"/>
          </p15:clr>
        </p15:guide>
        <p15:guide id="25" pos="69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11E05BA-8A0C-0C4A-6570-EAF79DEBA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42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53515" y="2223874"/>
            <a:ext cx="6985686" cy="667607"/>
          </a:xfrm>
        </p:spPr>
        <p:txBody>
          <a:bodyPr vert="horz"/>
          <a:lstStyle/>
          <a:p>
            <a:pPr algn="ctr"/>
            <a:r>
              <a:rPr lang="en-US" sz="2800" dirty="0"/>
              <a:t>DevOps overview and status for DAT</a:t>
            </a:r>
            <a:endParaRPr lang="en-US" sz="2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ame: DAT</a:t>
            </a:r>
          </a:p>
          <a:p>
            <a:r>
              <a:rPr lang="en-US" dirty="0"/>
              <a:t>Date: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020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700FF4-FE38-FB7E-1615-AF27F6E26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1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8351" y="567032"/>
            <a:ext cx="9288463" cy="1585441"/>
          </a:xfrm>
        </p:spPr>
        <p:txBody>
          <a:bodyPr vert="horz"/>
          <a:lstStyle/>
          <a:p>
            <a:pPr algn="ctr"/>
            <a:r>
              <a:rPr lang="en-US" dirty="0"/>
              <a:t>Agend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2714275"/>
            <a:ext cx="9288462" cy="248117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Scop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asks complet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asks pending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Future Roadmap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entative effort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5091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B96CE83-A268-276C-0F01-4693F2974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293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600199"/>
            <a:ext cx="9288463" cy="581891"/>
          </a:xfrm>
        </p:spPr>
        <p:txBody>
          <a:bodyPr vert="horz"/>
          <a:lstStyle/>
          <a:p>
            <a:r>
              <a:rPr lang="en-US" sz="2800" b="0" dirty="0">
                <a:latin typeface="+mn-lt"/>
                <a:cs typeface="Segoe UI" panose="020B0502040204020203" pitchFamily="34" charset="0"/>
              </a:rPr>
              <a:t>Scop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2597540"/>
            <a:ext cx="11283084" cy="299857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Automate infrastructure provisioning on AWS through Terraform templa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Implement CICD pipelines to automate code deployments to respective targe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Upload and maintain terraform scripts, pipeline templates and other supporting scripts in GitLa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50000"/>
                  </a:schemeClr>
                </a:solidFill>
              </a:rPr>
              <a:t>Identify tools to improve code quality, automatic deployments and enhance the CICD pipeline templates as per industry standa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Restricted – </a:t>
            </a:r>
            <a:r>
              <a:rPr lang="en-US" dirty="0" err="1"/>
              <a:t>Beschränkter</a:t>
            </a:r>
            <a:r>
              <a:rPr lang="en-US" dirty="0"/>
              <a:t> </a:t>
            </a:r>
            <a:r>
              <a:rPr lang="en-US" dirty="0" err="1"/>
              <a:t>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482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183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351005"/>
            <a:ext cx="9288463" cy="1416909"/>
          </a:xfrm>
        </p:spPr>
        <p:txBody>
          <a:bodyPr vert="horz"/>
          <a:lstStyle/>
          <a:p>
            <a:r>
              <a:rPr lang="en-IN" sz="24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asks </a:t>
            </a:r>
            <a:r>
              <a:rPr lang="en-IN" sz="28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mpleted</a:t>
            </a:r>
            <a:r>
              <a:rPr lang="en-IN" sz="24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092411"/>
            <a:ext cx="9288462" cy="3995351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ted below resources on AWS through terraform scripts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3 bucket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ambda functions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DS, Redshift cluster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ynamo DB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AM policies and roles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hena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lue Database</a:t>
            </a:r>
            <a:endParaRPr lang="en-US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algn="l">
              <a:lnSpc>
                <a:spcPct val="107000"/>
              </a:lnSpc>
              <a:spcAft>
                <a:spcPts val="800"/>
              </a:spcAft>
            </a:pPr>
            <a:endParaRPr lang="en-US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42305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870133"/>
            <a:ext cx="9288463" cy="823495"/>
          </a:xfrm>
        </p:spPr>
        <p:txBody>
          <a:bodyPr vert="horz"/>
          <a:lstStyle/>
          <a:p>
            <a:r>
              <a:rPr lang="en-IN" sz="24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asks </a:t>
            </a:r>
            <a:r>
              <a:rPr lang="en-IN" sz="28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mpleted</a:t>
            </a:r>
            <a:r>
              <a:rPr lang="en-IN" sz="24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2281881"/>
            <a:ext cx="9288462" cy="3995351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400" kern="100" dirty="0">
                <a:solidFill>
                  <a:srgbClr val="37415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plemented CICD pipelines to deploy,</a:t>
            </a:r>
            <a:endParaRPr lang="en-IN" sz="2400" kern="100" dirty="0">
              <a:solidFill>
                <a:srgbClr val="37415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IN" sz="2400" kern="100" dirty="0">
                <a:solidFill>
                  <a:srgbClr val="374151"/>
                </a:solidFill>
                <a:cs typeface="Times New Roman" panose="02020603050405020304" pitchFamily="18" charset="0"/>
              </a:rPr>
              <a:t>Python code to Aws lambda function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IN" sz="2400" kern="100" dirty="0">
                <a:solidFill>
                  <a:srgbClr val="374151"/>
                </a:solidFill>
                <a:cs typeface="Times New Roman" panose="02020603050405020304" pitchFamily="18" charset="0"/>
              </a:rPr>
              <a:t>SQL files to redshift cluster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IN" sz="2400" kern="100" dirty="0">
                <a:solidFill>
                  <a:srgbClr val="374151"/>
                </a:solidFill>
                <a:cs typeface="Times New Roman" panose="02020603050405020304" pitchFamily="18" charset="0"/>
              </a:rPr>
              <a:t>Terraform code to create resources on AWS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en-US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564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351006"/>
            <a:ext cx="9288463" cy="930876"/>
          </a:xfrm>
        </p:spPr>
        <p:txBody>
          <a:bodyPr vert="horz"/>
          <a:lstStyle/>
          <a:p>
            <a:r>
              <a:rPr lang="en-IN" sz="2400" kern="1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asks Pending</a:t>
            </a:r>
            <a:r>
              <a:rPr lang="en-IN" sz="2400" b="1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2400" kern="1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400" dirty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124054"/>
            <a:ext cx="11233151" cy="3995351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create below resources on AWS through terraform scripts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C2 instances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lue database and Athena connection</a:t>
            </a: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lue job provisioning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400" kern="100" dirty="0">
                <a:solidFill>
                  <a:srgbClr val="37415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plement pipelines to,</a:t>
            </a:r>
            <a:endParaRPr lang="en-IN" sz="2400" kern="100" dirty="0">
              <a:solidFill>
                <a:srgbClr val="37415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IN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destroy terraform resources created on AW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IN" sz="2400" kern="100" dirty="0">
                <a:solidFill>
                  <a:srgbClr val="374151"/>
                </a:solidFill>
                <a:cs typeface="Times New Roman" panose="02020603050405020304" pitchFamily="18" charset="0"/>
              </a:rPr>
              <a:t>Resource provisioning and Pipeline setup to deploy code to prod environment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IN" sz="2400" kern="100" dirty="0">
                <a:solidFill>
                  <a:srgbClr val="374151"/>
                </a:solidFill>
                <a:cs typeface="Times New Roman" panose="02020603050405020304" pitchFamily="18" charset="0"/>
              </a:rPr>
              <a:t>To create technical user for DevOps in AWS.</a:t>
            </a:r>
          </a:p>
          <a:p>
            <a:pPr lvl="1" algn="l">
              <a:lnSpc>
                <a:spcPct val="107000"/>
              </a:lnSpc>
              <a:spcAft>
                <a:spcPts val="800"/>
              </a:spcAft>
            </a:pPr>
            <a:endParaRPr lang="en-IN" sz="2400" kern="100" dirty="0">
              <a:solidFill>
                <a:srgbClr val="37415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en-IN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 algn="l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en-US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06224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351006"/>
            <a:ext cx="9288463" cy="1288286"/>
          </a:xfrm>
        </p:spPr>
        <p:txBody>
          <a:bodyPr vert="horz"/>
          <a:lstStyle/>
          <a:p>
            <a:r>
              <a:rPr lang="en-IN" sz="2400" b="1" kern="1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ture </a:t>
            </a:r>
            <a:r>
              <a:rPr lang="en-IN" sz="2400" kern="100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admap</a:t>
            </a:r>
            <a:r>
              <a:rPr lang="en-IN" sz="2400" b="1" kern="1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BEA7C9-5848-49AC-8068-1C41274EDC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281881"/>
            <a:ext cx="11233151" cy="3995351"/>
          </a:xfrm>
        </p:spPr>
        <p:txBody>
          <a:bodyPr/>
          <a:lstStyle/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o create reusable pipeline templates(global templates) in GitLab</a:t>
            </a: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 restructure GitLab repo structure to eliminate pipeline complexity and maintenance overhead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hancements to python, SQL CICD pipelines as per future requirements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hancements to terraform templates as </a:t>
            </a:r>
            <a:r>
              <a:rPr lang="en-US" sz="2400" kern="10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r need in Dev.</a:t>
            </a:r>
            <a:endParaRPr lang="en-US" sz="2400" kern="100" dirty="0">
              <a:solidFill>
                <a:srgbClr val="37415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kern="100" dirty="0">
                <a:solidFill>
                  <a:srgbClr val="37415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C on SonarQube for code analysis.</a:t>
            </a: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400" kern="100" dirty="0">
              <a:solidFill>
                <a:srgbClr val="37415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2400" kern="100" dirty="0">
              <a:solidFill>
                <a:srgbClr val="37415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3590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4EC84C8-72D7-C9DB-59F4-3BB3D4A53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4" imgH="324" progId="TCLayout.ActiveDocument.1">
                  <p:embed/>
                </p:oleObj>
              </mc:Choice>
              <mc:Fallback>
                <p:oleObj name="think-cell Folie" r:id="rId3" imgW="324" imgH="3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4EC84C8-72D7-C9DB-59F4-3BB3D4A5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34CDCE-8C17-40F0-80C9-81ACA910F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579606"/>
            <a:ext cx="9288463" cy="1288286"/>
          </a:xfrm>
        </p:spPr>
        <p:txBody>
          <a:bodyPr vert="horz"/>
          <a:lstStyle/>
          <a:p>
            <a:r>
              <a:rPr lang="en-IN" sz="2400" kern="100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ntative Effort</a:t>
            </a:r>
            <a:r>
              <a:rPr lang="en-IN" sz="2400" b="1" kern="1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en-IN" sz="5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E40DC-675F-4A17-9C0D-F5E8AE1470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48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364D2-FAA7-F979-5F43-4991A9487C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1698" y="2636836"/>
            <a:ext cx="4580238" cy="502509"/>
          </a:xfrm>
        </p:spPr>
        <p:txBody>
          <a:bodyPr/>
          <a:lstStyle/>
          <a:p>
            <a:pPr algn="ctr"/>
            <a:r>
              <a:rPr lang="en-IN" sz="3600" dirty="0"/>
              <a:t>Thank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F47972-5704-5562-4B7B-6DD970E5E2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Name: Abhishek Reddy Gangireddy</a:t>
            </a:r>
          </a:p>
          <a:p>
            <a:r>
              <a:rPr lang="en-IN" dirty="0"/>
              <a:t>Project: DA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6C5FFB-EE99-A81C-470C-31A7ADFE54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estricted – Beschränkter Zugrif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4684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2 2-in-1 16:9">
  <a:themeElements>
    <a:clrScheme name="O2 2022 v1">
      <a:dk1>
        <a:srgbClr val="0019A5"/>
      </a:dk1>
      <a:lt1>
        <a:srgbClr val="FFFFFF"/>
      </a:lt1>
      <a:dk2>
        <a:srgbClr val="0019A5"/>
      </a:dk2>
      <a:lt2>
        <a:srgbClr val="E6E6E6"/>
      </a:lt2>
      <a:accent1>
        <a:srgbClr val="0090D0"/>
      </a:accent1>
      <a:accent2>
        <a:srgbClr val="41B6E6"/>
      </a:accent2>
      <a:accent3>
        <a:srgbClr val="B1E4E3"/>
      </a:accent3>
      <a:accent4>
        <a:srgbClr val="74CF9A"/>
      </a:accent4>
      <a:accent5>
        <a:srgbClr val="FFC548"/>
      </a:accent5>
      <a:accent6>
        <a:srgbClr val="F65D7C"/>
      </a:accent6>
      <a:hlink>
        <a:srgbClr val="0090D0"/>
      </a:hlink>
      <a:folHlink>
        <a:srgbClr val="0090D0"/>
      </a:folHlink>
    </a:clrScheme>
    <a:fontScheme name="O2 On Air">
      <a:majorFont>
        <a:latin typeface="On Air"/>
        <a:ea typeface=""/>
        <a:cs typeface=""/>
      </a:majorFont>
      <a:minorFont>
        <a:latin typeface="On Ai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Galaxy Blue">
      <a:srgbClr val="000066"/>
    </a:custClr>
    <a:custClr name="Galaxy Blue 90%">
      <a:srgbClr val="1A1A75"/>
    </a:custClr>
    <a:custClr name="Galaxy Blue 80%">
      <a:srgbClr val="333385"/>
    </a:custClr>
    <a:custClr name="Galaxy Blue 70%">
      <a:srgbClr val="4D4D94"/>
    </a:custClr>
    <a:custClr name="Galaxy Blue 60%">
      <a:srgbClr val="6666A3"/>
    </a:custClr>
    <a:custClr name="Galaxy Blue 50%">
      <a:srgbClr val="8080B3"/>
    </a:custClr>
    <a:custClr>
      <a:srgbClr val="FFFFFF"/>
    </a:custClr>
    <a:custClr name="Pantone 135">
      <a:srgbClr val="FFC548"/>
    </a:custClr>
    <a:custClr>
      <a:srgbClr val="FFFFFF"/>
    </a:custClr>
    <a:custClr>
      <a:srgbClr val="FFFFFF"/>
    </a:custClr>
    <a:custClr name="Primary Blue">
      <a:srgbClr val="0019A5"/>
    </a:custClr>
    <a:custClr name="Primary Blue 90%">
      <a:srgbClr val="1A30AE"/>
    </a:custClr>
    <a:custClr name="Primary Blue 80%">
      <a:srgbClr val="3347B7"/>
    </a:custClr>
    <a:custClr name="Primary Blue 70%">
      <a:srgbClr val="4D5EC0"/>
    </a:custClr>
    <a:custClr name="Primary Blue 60%">
      <a:srgbClr val="6675C9"/>
    </a:custClr>
    <a:custClr name="Primary Blue 50%">
      <a:srgbClr val="808CD2"/>
    </a:custClr>
    <a:custClr>
      <a:srgbClr val="FFFFFF"/>
    </a:custClr>
    <a:custClr name="Pantone 709">
      <a:srgbClr val="F65D7C"/>
    </a:custClr>
    <a:custClr>
      <a:srgbClr val="FFFFFF"/>
    </a:custClr>
    <a:custClr>
      <a:srgbClr val="FFFFFF"/>
    </a:custClr>
    <a:custClr name="Sky Blue">
      <a:srgbClr val="0090D0"/>
    </a:custClr>
    <a:custClr name="Sky Blue 90%">
      <a:srgbClr val="1A9BD5"/>
    </a:custClr>
    <a:custClr name="Sky Blue 80%">
      <a:srgbClr val="33A6DA"/>
    </a:custClr>
    <a:custClr name="Sky Blue 70%">
      <a:srgbClr val="4EB1DE"/>
    </a:custClr>
    <a:custClr name="Sky Blue 60%">
      <a:srgbClr val="66BCE3"/>
    </a:custClr>
    <a:custClr name="Sky Blue 50%">
      <a:srgbClr val="80C7E8"/>
    </a:custClr>
    <a:custClr>
      <a:srgbClr val="FFFFFF"/>
    </a:custClr>
    <a:custClr name="Pantone 346">
      <a:srgbClr val="74CF9A"/>
    </a:custClr>
    <a:custClr>
      <a:srgbClr val="FFFFFF"/>
    </a:custClr>
    <a:custClr>
      <a:srgbClr val="FFFFFF"/>
    </a:custClr>
    <a:custClr name="Icy Blue">
      <a:srgbClr val="41B6E6"/>
    </a:custClr>
    <a:custClr name="Icy Blue 90%">
      <a:srgbClr val="54BDE9"/>
    </a:custClr>
    <a:custClr name="Icy Blue 80%">
      <a:srgbClr val="67C5EB"/>
    </a:custClr>
    <a:custClr name="Icy Blue 70%">
      <a:srgbClr val="7ACCED"/>
    </a:custClr>
    <a:custClr name="Icy Blue 60%">
      <a:srgbClr val="8DD3F0"/>
    </a:custClr>
    <a:custClr name="Icy Blue 50%">
      <a:srgbClr val="A0DBF3"/>
    </a:custClr>
    <a:custClr>
      <a:srgbClr val="FFFFFF"/>
    </a:custClr>
    <a:custClr name="Pantone 2587">
      <a:srgbClr val="824CAB"/>
    </a:custClr>
    <a:custClr>
      <a:srgbClr val="FFFFFF"/>
    </a:custClr>
    <a:custClr>
      <a:srgbClr val="FFFFFF"/>
    </a:custClr>
    <a:custClr name="Misty Blue">
      <a:srgbClr val="B1E4E3"/>
    </a:custClr>
    <a:custClr name="Misty Blue 90%">
      <a:srgbClr val="B9E7E6"/>
    </a:custClr>
    <a:custClr name="Misty Blue 80%">
      <a:srgbClr val="C1E9E9"/>
    </a:custClr>
    <a:custClr name="Misty Blue 70%">
      <a:srgbClr val="C8ECEB"/>
    </a:custClr>
    <a:custClr name="Misty Blue 60%">
      <a:srgbClr val="D0EFEE"/>
    </a:custClr>
    <a:custClr name="Misty Blue 50%">
      <a:srgbClr val="D8F1F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BA1BE6AA-AB55-4B17-A949-8B6767F2E103}" vid="{71752258-FEB2-4B87-8D89-833188CB9695}"/>
    </a:ext>
  </a:extLst>
</a:theme>
</file>

<file path=ppt/theme/theme2.xml><?xml version="1.0" encoding="utf-8"?>
<a:theme xmlns:a="http://schemas.openxmlformats.org/drawingml/2006/main" name="Telefónica O2 2-in-1 16:9">
  <a:themeElements>
    <a:clrScheme name="TEF v3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0066FF"/>
      </a:accent1>
      <a:accent2>
        <a:srgbClr val="66A3FF"/>
      </a:accent2>
      <a:accent3>
        <a:srgbClr val="99C2FF"/>
      </a:accent3>
      <a:accent4>
        <a:srgbClr val="CCE0FF"/>
      </a:accent4>
      <a:accent5>
        <a:srgbClr val="EAC344"/>
      </a:accent5>
      <a:accent6>
        <a:srgbClr val="E66C64"/>
      </a:accent6>
      <a:hlink>
        <a:srgbClr val="59C2C9"/>
      </a:hlink>
      <a:folHlink>
        <a:srgbClr val="C366EF"/>
      </a:folHlink>
    </a:clrScheme>
    <a:fontScheme name="TEF Telefonica Sans">
      <a:majorFont>
        <a:latin typeface="Telefonica Sans"/>
        <a:ea typeface=""/>
        <a:cs typeface=""/>
      </a:majorFont>
      <a:minorFont>
        <a:latin typeface="Telefonic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Grey 0">
      <a:srgbClr val="FFFFFF"/>
    </a:custClr>
    <a:custClr name="Grey 1">
      <a:srgbClr val="F2F4FF"/>
    </a:custClr>
    <a:custClr name="Grey 2">
      <a:srgbClr val="D1D5E4"/>
    </a:custClr>
    <a:custClr name="Grey 3">
      <a:srgbClr val="B0B6CA"/>
    </a:custClr>
    <a:custClr name="Grey 4">
      <a:srgbClr val="8F97AF"/>
    </a:custClr>
    <a:custClr name="Grey 5">
      <a:srgbClr val="6E7894"/>
    </a:custClr>
    <a:custClr name="Grey 6">
      <a:srgbClr val="58617A"/>
    </a:custClr>
    <a:custClr name="Grey 7">
      <a:srgbClr val="414B61"/>
    </a:custClr>
    <a:custClr name="Grey 8">
      <a:srgbClr val="2B3447"/>
    </a:custClr>
    <a:custClr name="Grey 9">
      <a:srgbClr val="031A34"/>
    </a:custClr>
    <a:custClr name="Brown light">
      <a:srgbClr val="E6E4E5"/>
    </a:custClr>
    <a:custClr name="Green light">
      <a:srgbClr val="E6E9E6"/>
    </a:custClr>
    <a:custClr name="Navy light">
      <a:srgbClr val="E3E5EA"/>
    </a:custClr>
    <a:custClr name="Purple light">
      <a:srgbClr val="ECE7EE"/>
    </a:custClr>
    <a:custClr name="Coral light">
      <a:srgbClr val="E3A19A"/>
    </a:custClr>
    <a:custClr name="Turquoise light">
      <a:srgbClr val="67E0E5"/>
    </a:custClr>
    <a:custClr name="Ambar light">
      <a:srgbClr val="F5E98A"/>
    </a:custClr>
    <a:custClr name="Orchid light">
      <a:srgbClr val="E7C2F8"/>
    </a:custClr>
    <a:custClr>
      <a:srgbClr val="FFFFFF"/>
    </a:custClr>
    <a:custClr>
      <a:srgbClr val="FFFFFF"/>
    </a:custClr>
    <a:custClr name="Brown">
      <a:srgbClr val="807477"/>
    </a:custClr>
    <a:custClr name="Green">
      <a:srgbClr val="7C877C"/>
    </a:custClr>
    <a:custClr name="Navy">
      <a:srgbClr val="6E7894"/>
    </a:custClr>
    <a:custClr name="Purple">
      <a:srgbClr val="9D84A3"/>
    </a:custClr>
    <a:custClr name="Coral">
      <a:srgbClr val="E66C64"/>
    </a:custClr>
    <a:custClr name="Turquoise">
      <a:srgbClr val="59C2C9"/>
    </a:custClr>
    <a:custClr name="Ambar">
      <a:srgbClr val="EAC344"/>
    </a:custClr>
    <a:custClr name="Orchid">
      <a:srgbClr val="C466EF"/>
    </a:custClr>
    <a:custClr>
      <a:srgbClr val="FFFFFF"/>
    </a:custClr>
    <a:custClr>
      <a:srgbClr val="FFFFFF"/>
    </a:custClr>
    <a:custClr name="Brown dark">
      <a:srgbClr val="524C4E"/>
    </a:custClr>
    <a:custClr name="Green dark">
      <a:srgbClr val="535753"/>
    </a:custClr>
    <a:custClr name="Navy dark">
      <a:srgbClr val="414B61"/>
    </a:custClr>
    <a:custClr name="Purple dark">
      <a:srgbClr val="64566A"/>
    </a:custClr>
    <a:custClr name="Coral dark">
      <a:srgbClr val="912C31"/>
    </a:custClr>
    <a:custClr name="Turquoise dark">
      <a:srgbClr val="3E8A8A"/>
    </a:custClr>
    <a:custClr name="Ambar dark">
      <a:srgbClr val="AD842D"/>
    </a:custClr>
    <a:custClr name="Orchid dark">
      <a:srgbClr val="8A1A93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BA1BE6AA-AB55-4B17-A949-8B6767F2E103}" vid="{B5BEE942-AD76-41B7-9F1B-4E39E67E433F}"/>
    </a:ext>
  </a:extLst>
</a:theme>
</file>

<file path=ppt/theme/theme3.xml><?xml version="1.0" encoding="utf-8"?>
<a:theme xmlns:a="http://schemas.openxmlformats.org/drawingml/2006/main" name="Telefónica 16:9">
  <a:themeElements>
    <a:clrScheme name="TEF v3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0066FF"/>
      </a:accent1>
      <a:accent2>
        <a:srgbClr val="66A3FF"/>
      </a:accent2>
      <a:accent3>
        <a:srgbClr val="99C2FF"/>
      </a:accent3>
      <a:accent4>
        <a:srgbClr val="CCE0FF"/>
      </a:accent4>
      <a:accent5>
        <a:srgbClr val="EAC344"/>
      </a:accent5>
      <a:accent6>
        <a:srgbClr val="E66C64"/>
      </a:accent6>
      <a:hlink>
        <a:srgbClr val="59C2C9"/>
      </a:hlink>
      <a:folHlink>
        <a:srgbClr val="C366EF"/>
      </a:folHlink>
    </a:clrScheme>
    <a:fontScheme name="TEF Telefonica Sans">
      <a:majorFont>
        <a:latin typeface="Telefonica Sans"/>
        <a:ea typeface=""/>
        <a:cs typeface=""/>
      </a:majorFont>
      <a:minorFont>
        <a:latin typeface="Telefonic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Grey 0">
      <a:srgbClr val="FFFFFF"/>
    </a:custClr>
    <a:custClr name="Grey 1">
      <a:srgbClr val="F2F4FF"/>
    </a:custClr>
    <a:custClr name="Grey 2">
      <a:srgbClr val="D1D5E4"/>
    </a:custClr>
    <a:custClr name="Grey 3">
      <a:srgbClr val="B0B6CA"/>
    </a:custClr>
    <a:custClr name="Grey 4">
      <a:srgbClr val="8F97AF"/>
    </a:custClr>
    <a:custClr name="Grey 5">
      <a:srgbClr val="6E7894"/>
    </a:custClr>
    <a:custClr name="Grey 6">
      <a:srgbClr val="58617A"/>
    </a:custClr>
    <a:custClr name="Grey 7">
      <a:srgbClr val="414B61"/>
    </a:custClr>
    <a:custClr name="Grey 8">
      <a:srgbClr val="2B3447"/>
    </a:custClr>
    <a:custClr name="Grey 9">
      <a:srgbClr val="031A34"/>
    </a:custClr>
    <a:custClr name="Brown light">
      <a:srgbClr val="E6E4E5"/>
    </a:custClr>
    <a:custClr name="Green light">
      <a:srgbClr val="E6E9E6"/>
    </a:custClr>
    <a:custClr name="Navy light">
      <a:srgbClr val="E3E5EA"/>
    </a:custClr>
    <a:custClr name="Purple light">
      <a:srgbClr val="ECE7EE"/>
    </a:custClr>
    <a:custClr name="Coral light">
      <a:srgbClr val="E3A19A"/>
    </a:custClr>
    <a:custClr name="Turquoise light">
      <a:srgbClr val="67E0E5"/>
    </a:custClr>
    <a:custClr name="Ambar light">
      <a:srgbClr val="F5E98A"/>
    </a:custClr>
    <a:custClr name="Orchid light">
      <a:srgbClr val="E7C2F8"/>
    </a:custClr>
    <a:custClr>
      <a:srgbClr val="FFFFFF"/>
    </a:custClr>
    <a:custClr>
      <a:srgbClr val="FFFFFF"/>
    </a:custClr>
    <a:custClr name="Brown">
      <a:srgbClr val="807477"/>
    </a:custClr>
    <a:custClr name="Green">
      <a:srgbClr val="7C877C"/>
    </a:custClr>
    <a:custClr name="Navy">
      <a:srgbClr val="6E7894"/>
    </a:custClr>
    <a:custClr name="Purple">
      <a:srgbClr val="9D84A3"/>
    </a:custClr>
    <a:custClr name="Coral">
      <a:srgbClr val="E66C64"/>
    </a:custClr>
    <a:custClr name="Turquoise">
      <a:srgbClr val="59C2C9"/>
    </a:custClr>
    <a:custClr name="Ambar">
      <a:srgbClr val="EAC344"/>
    </a:custClr>
    <a:custClr name="Orchid">
      <a:srgbClr val="C466EF"/>
    </a:custClr>
    <a:custClr>
      <a:srgbClr val="FFFFFF"/>
    </a:custClr>
    <a:custClr>
      <a:srgbClr val="FFFFFF"/>
    </a:custClr>
    <a:custClr name="Brown dark">
      <a:srgbClr val="524C4E"/>
    </a:custClr>
    <a:custClr name="Green dark">
      <a:srgbClr val="535753"/>
    </a:custClr>
    <a:custClr name="Navy dark">
      <a:srgbClr val="414B61"/>
    </a:custClr>
    <a:custClr name="Purple dark">
      <a:srgbClr val="64566A"/>
    </a:custClr>
    <a:custClr name="Coral dark">
      <a:srgbClr val="912C31"/>
    </a:custClr>
    <a:custClr name="Turquoise dark">
      <a:srgbClr val="3E8A8A"/>
    </a:custClr>
    <a:custClr name="Ambar dark">
      <a:srgbClr val="AD842D"/>
    </a:custClr>
    <a:custClr name="Orchid dark">
      <a:srgbClr val="8A1A93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BA1BE6AA-AB55-4B17-A949-8B6767F2E103}" vid="{862D8E10-A81C-4B16-A9C3-6D9482AC97A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F-o2_3-in-1_O2_16-to-9_Template_internal_2022-11-11 - Copy (2)</Template>
  <TotalTime>0</TotalTime>
  <Words>296</Words>
  <Application>Microsoft Office PowerPoint</Application>
  <PresentationFormat>Widescreen</PresentationFormat>
  <Paragraphs>5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On Air</vt:lpstr>
      <vt:lpstr>Segoe UI</vt:lpstr>
      <vt:lpstr>Symbol</vt:lpstr>
      <vt:lpstr>Telefonica Sans</vt:lpstr>
      <vt:lpstr>Wingdings</vt:lpstr>
      <vt:lpstr>O2 2-in-1 16:9</vt:lpstr>
      <vt:lpstr>Telefónica O2 2-in-1 16:9</vt:lpstr>
      <vt:lpstr>Telefónica 16:9</vt:lpstr>
      <vt:lpstr>think-cell Folie</vt:lpstr>
      <vt:lpstr>DevOps overview and status for DAT</vt:lpstr>
      <vt:lpstr>Agenda</vt:lpstr>
      <vt:lpstr>Scope</vt:lpstr>
      <vt:lpstr>Tasks completed:  </vt:lpstr>
      <vt:lpstr>Tasks completed:  </vt:lpstr>
      <vt:lpstr>Tasks Pending:  </vt:lpstr>
      <vt:lpstr>Future Roadmap:  </vt:lpstr>
      <vt:lpstr>Tentative Effort:  </vt:lpstr>
      <vt:lpstr>Thank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/CD Design for DAT</dc:title>
  <dc:creator>Srinivas Muggulla</dc:creator>
  <cp:lastModifiedBy>Abhishekreddy Gangireddy (External)</cp:lastModifiedBy>
  <cp:revision>60</cp:revision>
  <dcterms:created xsi:type="dcterms:W3CDTF">2023-06-30T07:39:00Z</dcterms:created>
  <dcterms:modified xsi:type="dcterms:W3CDTF">2023-09-07T12:33:07Z</dcterms:modified>
</cp:coreProperties>
</file>